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83" r:id="rId2"/>
    <p:sldId id="282" r:id="rId3"/>
    <p:sldId id="275" r:id="rId4"/>
    <p:sldId id="287" r:id="rId5"/>
    <p:sldId id="276" r:id="rId6"/>
    <p:sldId id="279" r:id="rId7"/>
    <p:sldId id="281" r:id="rId8"/>
    <p:sldId id="288" r:id="rId9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696" userDrawn="1">
          <p15:clr>
            <a:srgbClr val="A4A3A4"/>
          </p15:clr>
        </p15:guide>
        <p15:guide id="4" orient="horz" pos="232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4156"/>
    <a:srgbClr val="FF453A"/>
    <a:srgbClr val="5FB9C5"/>
    <a:srgbClr val="AF5F6D"/>
    <a:srgbClr val="47B39D"/>
    <a:srgbClr val="FFC153"/>
    <a:srgbClr val="EB6B56"/>
    <a:srgbClr val="F3A69B"/>
    <a:srgbClr val="3498DB"/>
    <a:srgbClr val="2C3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88BEE4-831E-4241-BA15-94A58D3E8D14}" v="3" dt="2023-03-16T19:54:20.5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9591" autoAdjust="0"/>
  </p:normalViewPr>
  <p:slideViewPr>
    <p:cSldViewPr snapToGrid="0" showGuides="1">
      <p:cViewPr varScale="1">
        <p:scale>
          <a:sx n="97" d="100"/>
          <a:sy n="97" d="100"/>
        </p:scale>
        <p:origin x="324" y="72"/>
      </p:cViewPr>
      <p:guideLst>
        <p:guide orient="horz" pos="3960"/>
        <p:guide pos="3840"/>
        <p:guide orient="horz" pos="696"/>
        <p:guide orient="horz" pos="232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CAFE6A9-0DAC-4D25-A317-2A53C9D93427}" type="datetimeFigureOut">
              <a:rPr lang="en-US" smtClean="0"/>
              <a:t>3/3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23577CB-5651-4F7E-826B-F02F6FA255D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5005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photos/RLw-UC03Gwc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earch/photos/checklist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Glenn Carstens-Peter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on 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3577CB-5651-4F7E-826B-F02F6FA255D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5227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3577CB-5651-4F7E-826B-F02F6FA255D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1700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3577CB-5651-4F7E-826B-F02F6FA255D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987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254CE2-BBB7-4A9B-B9D3-489FA13778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7203E5-3A09-4DF6-A736-11EB93E906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6C686A-2961-4B0C-BF8B-96F84E0F5C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AC103F-423F-4834-8C96-37A440BB0CE0}" type="datetimeFigureOut">
              <a:rPr lang="en-US" smtClean="0"/>
              <a:t>3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BAA146-5851-4725-8BD2-89A0E7EEF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9A10B6-0CCA-4B1F-AE86-7666ACC5A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1708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8EF66-BCB0-4DD5-8F7D-537E4AE96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A63EAE2-4A15-47B5-A448-25E1235B53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83553D-A1E7-42F9-A074-6A11D6CA42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AC103F-423F-4834-8C96-37A440BB0CE0}" type="datetimeFigureOut">
              <a:rPr lang="en-US" smtClean="0"/>
              <a:t>3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AA290C-4657-486D-B547-D4F5E087EB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67ABF7-837D-451A-99B1-5329DCDFC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8732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F7AC891-940C-4B9F-989E-47451494021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89EB0B-AB1D-45D3-8649-3BB3F2DC4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AEECB1-6C7B-410D-A80D-FC6DF2B9AC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AC103F-423F-4834-8C96-37A440BB0CE0}" type="datetimeFigureOut">
              <a:rPr lang="en-US" smtClean="0"/>
              <a:t>3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FE1558-AC4C-46EC-88EF-822A7A3A3F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126E91-D2B7-42CA-8B88-73B59F226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91898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5FB5E7-6AF8-441C-B554-04C637067B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D39F84-50BC-47F5-A466-843920D393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27D9CB-C849-45C6-8E52-A8A7C408D6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AC103F-423F-4834-8C96-37A440BB0CE0}" type="datetimeFigureOut">
              <a:rPr lang="en-US" smtClean="0"/>
              <a:t>3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52492E-88A6-4F7A-A1BE-D73C21ED08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47D5D2-668B-4030-8B1E-45A1024444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51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1E840C-E856-48B8-A8CE-ECB0561C6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DF9FD5-2C3B-4F0D-A6E8-47B3E0C887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6DC37B-6D85-4E20-95CE-D6F82AAC74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AC103F-423F-4834-8C96-37A440BB0CE0}" type="datetimeFigureOut">
              <a:rPr lang="en-US" smtClean="0"/>
              <a:t>3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D9214D-1287-418D-9C69-7FFB16A280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D7099C-A656-47CD-8157-FCBCAB789C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526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F63381-8498-41F7-8F7C-1E6ED469C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66C7D8-242D-4D61-A75C-0F0CF94952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EB1246-149D-4EB4-AD34-2B56D5CAF0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14B170-D0DB-42B3-92F6-9389132FC2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AC103F-423F-4834-8C96-37A440BB0CE0}" type="datetimeFigureOut">
              <a:rPr lang="en-US" smtClean="0"/>
              <a:t>3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92EA07-6675-46ED-9E54-924B859906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948D41-95C7-41FD-B8DC-F43E9A0D1D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554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D0912-779E-4AD9-AA3B-755A83389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3698CF-B244-480D-95AC-E6570FFE72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153DB00-F2DD-429B-A523-0484012EA1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32FF55-0B8E-400D-AB18-3BB9A9C2A7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A5153A5-2E34-4DC8-81C0-CFD8FC92D2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29B853-C7B5-4FDF-894B-7437009AFD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AC103F-423F-4834-8C96-37A440BB0CE0}" type="datetimeFigureOut">
              <a:rPr lang="en-US" smtClean="0"/>
              <a:t>3/31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E25D657-D1FD-4A5C-A417-C64EE129B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15F3B60-082A-4136-8C3E-D5BCAE49A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80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ABDF76-CA46-4CFE-9C95-3852DC381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C70939-A8A2-4B28-8D49-080C9437E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AC103F-423F-4834-8C96-37A440BB0CE0}" type="datetimeFigureOut">
              <a:rPr lang="en-US" smtClean="0"/>
              <a:t>3/31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4178D7-D29C-4797-A010-6D12870A3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AC9E6C-F566-4061-9C73-65BD2FC4E2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66214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6EA846A-CAB7-4D66-92F0-B6ED4A0092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AC103F-423F-4834-8C96-37A440BB0CE0}" type="datetimeFigureOut">
              <a:rPr lang="en-US" smtClean="0"/>
              <a:t>3/31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97041D-C4F6-480A-8097-1B99B9DC30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BD4B56-6DA4-4125-86A0-7A4E4ECEA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1492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F9F9E2-AB65-4B8E-88BD-B72C846FB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E70D81-A7D4-49CD-BEEB-09BAD8F269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AB3904-BC4B-4648-9BDD-3E464B3020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1175F6-3A78-4837-90D5-C8EE675550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AC103F-423F-4834-8C96-37A440BB0CE0}" type="datetimeFigureOut">
              <a:rPr lang="en-US" smtClean="0"/>
              <a:t>3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353F6E-A966-4290-9465-6CA5D59EE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2B787D-B54D-43B1-954E-AD4B4AD70D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7108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72A20A-191C-44BC-A18A-CB081D7040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C34B65-163C-4AEC-A906-AE87959FCA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E2222A-5850-459D-83E5-8FA176DF9C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D727B2-091F-42CE-B32B-1E0B38E235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AC103F-423F-4834-8C96-37A440BB0CE0}" type="datetimeFigureOut">
              <a:rPr lang="en-US" smtClean="0"/>
              <a:t>3/3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60D3B7-29FE-4D39-9781-7CD869BA4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825CE6-11A5-4165-A672-CAB2081246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8A3C94-99AD-4370-9394-C6F4471570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8415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E06079C-C80B-4A19-849F-38AAD3540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4E51E1-62C0-4A8D-AAFB-A44F4DE29F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C86962-35A5-4C5E-A995-C7385F99C7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AC103F-423F-4834-8C96-37A440BB0CE0}" type="datetimeFigureOut">
              <a:rPr lang="en-US" smtClean="0"/>
              <a:t>3/3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9C52AD-4EB2-469E-8322-DE328B05CF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5B2D70-E4D9-42E1-9ABE-175B7C11DB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8A3C94-99AD-4370-9394-C6F4471570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4635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labamaachieves.org/wp-content/uploads/2022/07/StateSuperIn_Memos_2022720_FY22-2053-Alabama-Extended-Learning-Opportunities-Act_V1.0.pdf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couting.org/stem-nova-awards/awards/about-nova/" TargetMode="External"/><Relationship Id="rId13" Type="http://schemas.openxmlformats.org/officeDocument/2006/relationships/hyperlink" Target="https://www.encyclopedia.com/education/encyclopedias-almanacs-transcripts-and-maps/community-based-organizations-agencies-and-groups" TargetMode="External"/><Relationship Id="rId3" Type="http://schemas.openxmlformats.org/officeDocument/2006/relationships/hyperlink" Target="https://internationalgymnastics.com/?gclid=Cj0KCQjw2cWgBhDYARIsALggUhqjZUmSuNj_tN9QjhKuysp0l8gusLIYDSOJbaE6TfNcOAZ3V8GIeBQaAtAgEALw_wcB" TargetMode="External"/><Relationship Id="rId7" Type="http://schemas.openxmlformats.org/officeDocument/2006/relationships/hyperlink" Target="https://outreach.cs.ua.edu/camps/#:~:text=The%20University%20of%20Alabama%20Department,rising%2010th%20through%2012th%20graders)." TargetMode="External"/><Relationship Id="rId12" Type="http://schemas.openxmlformats.org/officeDocument/2006/relationships/hyperlink" Target="https://www.legion.org/boysnation/stateeligibility" TargetMode="External"/><Relationship Id="rId2" Type="http://schemas.openxmlformats.org/officeDocument/2006/relationships/hyperlink" Target="https://www.pikeroadtheatrecompany.org/" TargetMode="External"/><Relationship Id="rId16" Type="http://schemas.openxmlformats.org/officeDocument/2006/relationships/hyperlink" Target="https://www.nyc.gov/assets/dycd/downloads/pdf/Youth_leadership_framework_workgroup12-2015.pdf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idtech.com/locations/the-university-of-alabama-at-birmingham?utm_source=google&amp;utm_medium=cpc&amp;utm_term=summer%20camps%20in%20alabama&amp;gclid=Cj0KCQjw2cWgBhDYARIsALggUhrkLW5UxujnjGZJOnjZV4MN_J6qb9a8jfLXiZYiVFCmtTF-IwN0o0kaApr2EALw_wcB" TargetMode="External"/><Relationship Id="rId11" Type="http://schemas.openxmlformats.org/officeDocument/2006/relationships/hyperlink" Target="https://work.chron.com/become-recreational-basketball-referee-14461.html" TargetMode="External"/><Relationship Id="rId5" Type="http://schemas.openxmlformats.org/officeDocument/2006/relationships/hyperlink" Target="https://www.spacecamp.com/space" TargetMode="External"/><Relationship Id="rId15" Type="http://schemas.openxmlformats.org/officeDocument/2006/relationships/hyperlink" Target="https://laymca.org/uploads/editor/files/JD-CC-Camp%20Counselor-March%202021_AD.pdf" TargetMode="External"/><Relationship Id="rId10" Type="http://schemas.openxmlformats.org/officeDocument/2006/relationships/hyperlink" Target="https://www.pelhamciviccomplex.com/172/Advanced-Level-Classes-Teams" TargetMode="External"/><Relationship Id="rId4" Type="http://schemas.openxmlformats.org/officeDocument/2006/relationships/hyperlink" Target="https://montgomeryballet.org/the-ballet-company/" TargetMode="External"/><Relationship Id="rId9" Type="http://schemas.openxmlformats.org/officeDocument/2006/relationships/hyperlink" Target="https://www.redcross.org/take-a-class/lifeguarding" TargetMode="External"/><Relationship Id="rId14" Type="http://schemas.openxmlformats.org/officeDocument/2006/relationships/hyperlink" Target="https://www.aces.edu/blog/category/4h/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alabamaachieves.org/wp-content/uploads/2022/07/StateSuperIn_Memos_2022720_FY22-2053-Alabama-Extended-Learning-Opportunities-Act_V1.0.pdf" TargetMode="Externa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google.com/document/d/107XYAmsdXo8Iu5Z-f0OCfWEDbZHAUIpP/edit?usp=sharing&amp;ouid=111711877202748579805&amp;rtpof=true&amp;sd=true" TargetMode="External"/><Relationship Id="rId3" Type="http://schemas.openxmlformats.org/officeDocument/2006/relationships/tags" Target="../tags/tag3.xml"/><Relationship Id="rId7" Type="http://schemas.openxmlformats.org/officeDocument/2006/relationships/hyperlink" Target="https://docs.google.com/document/d/1WQeVwciBMOWE8tT1rpqviufdwceP0WuVPgqQjSoIDH4/edit" TargetMode="Externa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hyperlink" Target="https://drive.google.com/file/d/1IolHRU1OCFD7JVCsKqhdImov5ozYLHI8/view" TargetMode="External"/><Relationship Id="rId5" Type="http://schemas.openxmlformats.org/officeDocument/2006/relationships/hyperlink" Target="https://www.expandedschools.org/wp-content/uploads/2022/04/ExpandEDs-Elements-of-WBL-Program-Design.pdf" TargetMode="External"/><Relationship Id="rId4" Type="http://schemas.openxmlformats.org/officeDocument/2006/relationships/slideLayout" Target="../slideLayouts/slideLayout7.xml"/><Relationship Id="rId9" Type="http://schemas.openxmlformats.org/officeDocument/2006/relationships/hyperlink" Target="https://docs.google.com/document/d/1JNgA0WT2RFRqJdsdEPrcn7Bx1-9BDJRw/edit?usp=share_link&amp;ouid=107996713043375035957&amp;rtpof=true&amp;sd=true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hyperlink" Target="https://docs.google.com/document/d/1zlKwg1AU2oDltr4-Uf5943sgQD4Ni6Ky/edit?usp=sharing&amp;ouid=111711877202748579805&amp;rtpof=true&amp;sd=true" TargetMode="Externa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8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707D307-83CC-427A-AB6E-8D3386013360}"/>
              </a:ext>
            </a:extLst>
          </p:cNvPr>
          <p:cNvSpPr/>
          <p:nvPr/>
        </p:nvSpPr>
        <p:spPr>
          <a:xfrm>
            <a:off x="0" y="145915"/>
            <a:ext cx="12192000" cy="6858002"/>
          </a:xfrm>
          <a:custGeom>
            <a:avLst/>
            <a:gdLst>
              <a:gd name="connsiteX0" fmla="*/ 4444589 w 12192000"/>
              <a:gd name="connsiteY0" fmla="*/ 0 h 6858002"/>
              <a:gd name="connsiteX1" fmla="*/ 12192000 w 12192000"/>
              <a:gd name="connsiteY1" fmla="*/ 0 h 6858002"/>
              <a:gd name="connsiteX2" fmla="*/ 12192000 w 12192000"/>
              <a:gd name="connsiteY2" fmla="*/ 2950253 h 6858002"/>
              <a:gd name="connsiteX3" fmla="*/ 11981389 w 12192000"/>
              <a:gd name="connsiteY3" fmla="*/ 2792761 h 6858002"/>
              <a:gd name="connsiteX4" fmla="*/ 9783989 w 12192000"/>
              <a:gd name="connsiteY4" fmla="*/ 2121548 h 6858002"/>
              <a:gd name="connsiteX5" fmla="*/ 5853810 w 12192000"/>
              <a:gd name="connsiteY5" fmla="*/ 6051727 h 6858002"/>
              <a:gd name="connsiteX6" fmla="*/ 5933657 w 12192000"/>
              <a:gd name="connsiteY6" fmla="*/ 6843795 h 6858002"/>
              <a:gd name="connsiteX7" fmla="*/ 5936936 w 12192000"/>
              <a:gd name="connsiteY7" fmla="*/ 6858002 h 6858002"/>
              <a:gd name="connsiteX8" fmla="*/ 0 w 12192000"/>
              <a:gd name="connsiteY8" fmla="*/ 6858002 h 6858002"/>
              <a:gd name="connsiteX9" fmla="*/ 0 w 12192000"/>
              <a:gd name="connsiteY9" fmla="*/ 4422386 h 6858002"/>
              <a:gd name="connsiteX10" fmla="*/ 149336 w 12192000"/>
              <a:gd name="connsiteY10" fmla="*/ 4441362 h 6858002"/>
              <a:gd name="connsiteX11" fmla="*/ 551174 w 12192000"/>
              <a:gd name="connsiteY11" fmla="*/ 4461653 h 6858002"/>
              <a:gd name="connsiteX12" fmla="*/ 4481353 w 12192000"/>
              <a:gd name="connsiteY12" fmla="*/ 531474 h 6858002"/>
              <a:gd name="connsiteX13" fmla="*/ 4461062 w 12192000"/>
              <a:gd name="connsiteY13" fmla="*/ 129636 h 6858002"/>
              <a:gd name="connsiteX14" fmla="*/ 4444589 w 12192000"/>
              <a:gd name="connsiteY14" fmla="*/ 0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2">
                <a:moveTo>
                  <a:pt x="4444589" y="0"/>
                </a:moveTo>
                <a:lnTo>
                  <a:pt x="12192000" y="0"/>
                </a:lnTo>
                <a:lnTo>
                  <a:pt x="12192000" y="2950253"/>
                </a:lnTo>
                <a:lnTo>
                  <a:pt x="11981389" y="2792761"/>
                </a:lnTo>
                <a:cubicBezTo>
                  <a:pt x="11354129" y="2368992"/>
                  <a:pt x="10597956" y="2121548"/>
                  <a:pt x="9783989" y="2121548"/>
                </a:cubicBezTo>
                <a:cubicBezTo>
                  <a:pt x="7613411" y="2121548"/>
                  <a:pt x="5853810" y="3881149"/>
                  <a:pt x="5853810" y="6051727"/>
                </a:cubicBezTo>
                <a:cubicBezTo>
                  <a:pt x="5853810" y="6323049"/>
                  <a:pt x="5881304" y="6587950"/>
                  <a:pt x="5933657" y="6843795"/>
                </a:cubicBezTo>
                <a:lnTo>
                  <a:pt x="5936936" y="6858002"/>
                </a:lnTo>
                <a:lnTo>
                  <a:pt x="0" y="6858002"/>
                </a:lnTo>
                <a:lnTo>
                  <a:pt x="0" y="4422386"/>
                </a:lnTo>
                <a:lnTo>
                  <a:pt x="149336" y="4441362"/>
                </a:lnTo>
                <a:cubicBezTo>
                  <a:pt x="281457" y="4454780"/>
                  <a:pt x="415513" y="4461653"/>
                  <a:pt x="551174" y="4461653"/>
                </a:cubicBezTo>
                <a:cubicBezTo>
                  <a:pt x="2721752" y="4461653"/>
                  <a:pt x="4481353" y="2702052"/>
                  <a:pt x="4481353" y="531474"/>
                </a:cubicBezTo>
                <a:cubicBezTo>
                  <a:pt x="4481353" y="395813"/>
                  <a:pt x="4474479" y="261757"/>
                  <a:pt x="4461062" y="129636"/>
                </a:cubicBezTo>
                <a:lnTo>
                  <a:pt x="4444589" y="0"/>
                </a:lnTo>
                <a:close/>
              </a:path>
            </a:pathLst>
          </a:custGeom>
          <a:solidFill>
            <a:srgbClr val="5FB9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D36C1ED-F0F7-4039-8FD8-534538B31929}"/>
              </a:ext>
            </a:extLst>
          </p:cNvPr>
          <p:cNvSpPr txBox="1"/>
          <p:nvPr/>
        </p:nvSpPr>
        <p:spPr>
          <a:xfrm>
            <a:off x="4570167" y="828086"/>
            <a:ext cx="6939662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000" dirty="0">
                <a:solidFill>
                  <a:schemeClr val="bg1"/>
                </a:solidFill>
                <a:latin typeface="Montserrat" pitchFamily="2" charset="0"/>
              </a:rPr>
              <a:t>Implementing the Alabama Extended Learning Opportunity Act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16186F4-1BEE-435C-BA84-31D58371CEEE}"/>
              </a:ext>
            </a:extLst>
          </p:cNvPr>
          <p:cNvSpPr/>
          <p:nvPr/>
        </p:nvSpPr>
        <p:spPr>
          <a:xfrm>
            <a:off x="333829" y="337457"/>
            <a:ext cx="11524342" cy="618308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104C390-044A-41D6-9589-C5A2F2716289}"/>
              </a:ext>
            </a:extLst>
          </p:cNvPr>
          <p:cNvCxnSpPr>
            <a:cxnSpLocks/>
          </p:cNvCxnSpPr>
          <p:nvPr/>
        </p:nvCxnSpPr>
        <p:spPr>
          <a:xfrm>
            <a:off x="0" y="0"/>
            <a:ext cx="682171" cy="682171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0DB36EC-B22E-46D8-A26F-501A1B899069}"/>
              </a:ext>
            </a:extLst>
          </p:cNvPr>
          <p:cNvCxnSpPr>
            <a:cxnSpLocks/>
          </p:cNvCxnSpPr>
          <p:nvPr/>
        </p:nvCxnSpPr>
        <p:spPr>
          <a:xfrm flipH="1">
            <a:off x="11509829" y="0"/>
            <a:ext cx="682171" cy="682171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1F36F69-C1AD-4C3B-B18C-0768F5DBE6F7}"/>
              </a:ext>
            </a:extLst>
          </p:cNvPr>
          <p:cNvCxnSpPr>
            <a:cxnSpLocks/>
          </p:cNvCxnSpPr>
          <p:nvPr/>
        </p:nvCxnSpPr>
        <p:spPr>
          <a:xfrm flipV="1">
            <a:off x="0" y="6175829"/>
            <a:ext cx="682171" cy="682171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74BB08F-9E34-44D2-82FF-3C469EC090F4}"/>
              </a:ext>
            </a:extLst>
          </p:cNvPr>
          <p:cNvCxnSpPr>
            <a:cxnSpLocks/>
          </p:cNvCxnSpPr>
          <p:nvPr/>
        </p:nvCxnSpPr>
        <p:spPr>
          <a:xfrm flipH="1" flipV="1">
            <a:off x="11509829" y="6175829"/>
            <a:ext cx="682171" cy="682171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8311F9D4-9A1D-4556-BB0C-7444E1B7CC91}"/>
              </a:ext>
            </a:extLst>
          </p:cNvPr>
          <p:cNvSpPr/>
          <p:nvPr/>
        </p:nvSpPr>
        <p:spPr>
          <a:xfrm>
            <a:off x="970728" y="4824434"/>
            <a:ext cx="4175497" cy="110799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chemeClr val="bg1"/>
                </a:solidFill>
                <a:latin typeface="Montserrat" pitchFamily="2" charset="0"/>
              </a:rPr>
              <a:t>Credit for Learning:  Making Learning Outside of School Count </a:t>
            </a:r>
          </a:p>
        </p:txBody>
      </p:sp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F19884E6-C145-028C-E58C-7DE4E74526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8001" y="396136"/>
            <a:ext cx="5095320" cy="2915882"/>
          </a:xfrm>
          <a:prstGeom prst="rect">
            <a:avLst/>
          </a:prstGeom>
        </p:spPr>
      </p:pic>
      <p:pic>
        <p:nvPicPr>
          <p:cNvPr id="8" name="Picture 7" descr="A picture containing person&#10;&#10;Description automatically generated">
            <a:extLst>
              <a:ext uri="{FF2B5EF4-FFF2-40B4-BE49-F238E27FC236}">
                <a16:creationId xmlns:a16="http://schemas.microsoft.com/office/drawing/2014/main" id="{9B79BC95-0018-9627-723A-A2B1439F05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2088" y="2081019"/>
            <a:ext cx="8189620" cy="8189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9716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4BBE90C5-C25D-4B9C-A9A1-57BB02853EC6}"/>
              </a:ext>
            </a:extLst>
          </p:cNvPr>
          <p:cNvGrpSpPr/>
          <p:nvPr/>
        </p:nvGrpSpPr>
        <p:grpSpPr>
          <a:xfrm>
            <a:off x="-1" y="-1"/>
            <a:ext cx="12192001" cy="6858001"/>
            <a:chOff x="0" y="0"/>
            <a:chExt cx="12192001" cy="6858001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576DBC4C-9AD8-450C-8066-EC09A801CD69}"/>
                </a:ext>
              </a:extLst>
            </p:cNvPr>
            <p:cNvSpPr/>
            <p:nvPr/>
          </p:nvSpPr>
          <p:spPr>
            <a:xfrm>
              <a:off x="333829" y="337457"/>
              <a:ext cx="11524342" cy="6183086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1AC9EDE-E11E-41D3-AFCF-1AE2BF3C9C7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722725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0EF917ED-95A1-43A0-9815-B1227C63A8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0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E85DA5D-AAFD-4D08-8AA5-89FA1307FAA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722725" y="0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215F2721-A60F-435C-9521-FC9C5233433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0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2E42C2D4-2319-4124-B35C-620BDC9D3D9B}"/>
              </a:ext>
            </a:extLst>
          </p:cNvPr>
          <p:cNvSpPr txBox="1"/>
          <p:nvPr/>
        </p:nvSpPr>
        <p:spPr>
          <a:xfrm>
            <a:off x="564524" y="481413"/>
            <a:ext cx="1125344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Understanding Extended Learning Opportunities (ELOs):  </a:t>
            </a:r>
            <a:r>
              <a: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What &amp; Why?  </a:t>
            </a:r>
          </a:p>
        </p:txBody>
      </p:sp>
      <p:sp>
        <p:nvSpPr>
          <p:cNvPr id="64" name="Slide Number Placeholder 63">
            <a:extLst>
              <a:ext uri="{FF2B5EF4-FFF2-40B4-BE49-F238E27FC236}">
                <a16:creationId xmlns:a16="http://schemas.microsoft.com/office/drawing/2014/main" id="{25886065-57E9-4A13-980D-FB51F031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875"/>
            <a:ext cx="2743200" cy="365125"/>
          </a:xfrm>
        </p:spPr>
        <p:txBody>
          <a:bodyPr/>
          <a:lstStyle/>
          <a:p>
            <a:fld id="{358A3C94-99AD-4370-9394-C6F447157082}" type="slidenum">
              <a:rPr lang="en-US" smtClean="0">
                <a:latin typeface="Montserrat" pitchFamily="2" charset="0"/>
              </a:rPr>
              <a:t>2</a:t>
            </a:fld>
            <a:endParaRPr lang="en-US" dirty="0">
              <a:latin typeface="Montserrat" pitchFamily="2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1202B7A-CB9D-4579-B1F0-94EBB8D1DE99}"/>
              </a:ext>
            </a:extLst>
          </p:cNvPr>
          <p:cNvSpPr/>
          <p:nvPr/>
        </p:nvSpPr>
        <p:spPr>
          <a:xfrm>
            <a:off x="904351" y="1453785"/>
            <a:ext cx="4640176" cy="4640176"/>
          </a:xfrm>
          <a:prstGeom prst="ellipse">
            <a:avLst/>
          </a:prstGeom>
          <a:solidFill>
            <a:srgbClr val="5FB9C5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03" name="Freeform 1675">
            <a:extLst>
              <a:ext uri="{FF2B5EF4-FFF2-40B4-BE49-F238E27FC236}">
                <a16:creationId xmlns:a16="http://schemas.microsoft.com/office/drawing/2014/main" id="{AD11B4D3-2844-4A50-838C-9469E896DD15}"/>
              </a:ext>
            </a:extLst>
          </p:cNvPr>
          <p:cNvSpPr>
            <a:spLocks/>
          </p:cNvSpPr>
          <p:nvPr/>
        </p:nvSpPr>
        <p:spPr bwMode="auto">
          <a:xfrm>
            <a:off x="2411179" y="4171381"/>
            <a:ext cx="1450402" cy="1232834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85A7C28C-435B-4ED0-A486-66B576B1200C}"/>
              </a:ext>
            </a:extLst>
          </p:cNvPr>
          <p:cNvSpPr/>
          <p:nvPr/>
        </p:nvSpPr>
        <p:spPr>
          <a:xfrm>
            <a:off x="6015164" y="1545826"/>
            <a:ext cx="5666920" cy="215443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4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WHA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: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Supplemental co-curricular activities provided outside of the traditional school day that focus on academic enrichment, career readiness exposure or skills, or other specific identified outco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Approved, out-of-classroom learning experiences that extend or enrich skills or standards mast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Credit-bearing electives for report card (transcript) purposes with grades reported like traditional elective courses during the traditional school day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0EFDBA2E-6A82-489B-9378-DF9215DF4B1E}"/>
              </a:ext>
            </a:extLst>
          </p:cNvPr>
          <p:cNvSpPr/>
          <p:nvPr/>
        </p:nvSpPr>
        <p:spPr>
          <a:xfrm>
            <a:off x="6015164" y="4037719"/>
            <a:ext cx="5162349" cy="193899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US" sz="14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WHY: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All students learn through different modalities and have different interes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Students participate in a variety of outside learning experiences through independent, in-depth studies; clubs;  non-profit or community-based organizations; summer/after school camps; work-based experiences; and other activities that meet the requirements of current traditional school elective courses. 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1E012D8-A4B9-4849-B718-1AD130189A68}"/>
              </a:ext>
            </a:extLst>
          </p:cNvPr>
          <p:cNvSpPr/>
          <p:nvPr/>
        </p:nvSpPr>
        <p:spPr>
          <a:xfrm>
            <a:off x="969979" y="2859839"/>
            <a:ext cx="4535471" cy="9233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dirty="0">
                <a:solidFill>
                  <a:schemeClr val="bg1"/>
                </a:solidFill>
                <a:latin typeface="Montserrat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abama Extended Learning Opportunities Act </a:t>
            </a:r>
          </a:p>
          <a:p>
            <a:pPr algn="ctr">
              <a:buClr>
                <a:schemeClr val="accent1"/>
              </a:buClr>
            </a:pPr>
            <a:r>
              <a:rPr lang="en-US" sz="2000" dirty="0">
                <a:solidFill>
                  <a:schemeClr val="bg1"/>
                </a:solidFill>
                <a:latin typeface="Montserrat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(Act 2021-428)</a:t>
            </a:r>
            <a:endParaRPr lang="en-US" sz="2000" dirty="0">
              <a:solidFill>
                <a:schemeClr val="bg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5848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76DBC4C-9AD8-450C-8066-EC09A801CD69}"/>
              </a:ext>
            </a:extLst>
          </p:cNvPr>
          <p:cNvSpPr/>
          <p:nvPr/>
        </p:nvSpPr>
        <p:spPr>
          <a:xfrm>
            <a:off x="333829" y="337457"/>
            <a:ext cx="11524342" cy="618308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42C2D4-2319-4124-B35C-620BDC9D3D9B}"/>
              </a:ext>
            </a:extLst>
          </p:cNvPr>
          <p:cNvSpPr txBox="1"/>
          <p:nvPr/>
        </p:nvSpPr>
        <p:spPr>
          <a:xfrm>
            <a:off x="87703" y="384714"/>
            <a:ext cx="11770468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Example Credit-Bearing ELOs:</a:t>
            </a:r>
          </a:p>
          <a:p>
            <a:pPr algn="ctr"/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Do Any of These Activities Look Familiar? 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863CDD2-D68A-42D2-9BCD-4CDC6C0884CA}"/>
              </a:ext>
            </a:extLst>
          </p:cNvPr>
          <p:cNvGrpSpPr/>
          <p:nvPr/>
        </p:nvGrpSpPr>
        <p:grpSpPr>
          <a:xfrm>
            <a:off x="1420129" y="1311265"/>
            <a:ext cx="9351742" cy="1039698"/>
            <a:chOff x="1420129" y="1311265"/>
            <a:chExt cx="9351742" cy="1039698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1AFA33C-45FA-4C94-99B4-0B5873DDFED1}"/>
                </a:ext>
              </a:extLst>
            </p:cNvPr>
            <p:cNvSpPr/>
            <p:nvPr/>
          </p:nvSpPr>
          <p:spPr>
            <a:xfrm>
              <a:off x="4031926" y="1466816"/>
              <a:ext cx="6739945" cy="7285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</p:txBody>
        </p:sp>
        <p:sp>
          <p:nvSpPr>
            <p:cNvPr id="9" name="Arrow: Pentagon 8">
              <a:extLst>
                <a:ext uri="{FF2B5EF4-FFF2-40B4-BE49-F238E27FC236}">
                  <a16:creationId xmlns:a16="http://schemas.microsoft.com/office/drawing/2014/main" id="{F2025C42-F6C1-45AF-B9A2-6ACD72258B4A}"/>
                </a:ext>
              </a:extLst>
            </p:cNvPr>
            <p:cNvSpPr/>
            <p:nvPr/>
          </p:nvSpPr>
          <p:spPr>
            <a:xfrm>
              <a:off x="1420129" y="1466816"/>
              <a:ext cx="1795842" cy="728595"/>
            </a:xfrm>
            <a:prstGeom prst="homePlate">
              <a:avLst/>
            </a:prstGeom>
            <a:solidFill>
              <a:srgbClr val="5FB9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Montserrat" pitchFamily="2" charset="0"/>
                </a:rPr>
                <a:t>Fine Arts Electives</a:t>
              </a:r>
            </a:p>
          </p:txBody>
        </p:sp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371456DB-7BB8-4D4E-B933-58B15B2A6900}"/>
                </a:ext>
              </a:extLst>
            </p:cNvPr>
            <p:cNvSpPr/>
            <p:nvPr/>
          </p:nvSpPr>
          <p:spPr>
            <a:xfrm>
              <a:off x="2726028" y="1311265"/>
              <a:ext cx="1795842" cy="1039698"/>
            </a:xfrm>
            <a:prstGeom prst="chevron">
              <a:avLst/>
            </a:prstGeom>
            <a:solidFill>
              <a:srgbClr val="5FB9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BCFB346-1DA0-4ECC-9502-1D29DF9755AE}"/>
                </a:ext>
              </a:extLst>
            </p:cNvPr>
            <p:cNvSpPr/>
            <p:nvPr/>
          </p:nvSpPr>
          <p:spPr>
            <a:xfrm>
              <a:off x="4628202" y="1577196"/>
              <a:ext cx="5995985" cy="5078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  <a:hlinkClick r:id="rId2"/>
                </a:rPr>
                <a:t>Community-Based Theatre Companies </a:t>
              </a:r>
              <a:endPara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  <a:hlinkClick r:id="rId3"/>
                </a:rPr>
                <a:t>Competitive Summer Gymnastics Camps</a:t>
              </a:r>
              <a:endPara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  <a:hlinkClick r:id="rId4"/>
                </a:rPr>
                <a:t>Professional Ballet/Dance Company (classes &amp; performances)</a:t>
              </a:r>
              <a:endPara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2A8709D-2F73-4C76-9C32-01BD05C8E9D2}"/>
                </a:ext>
              </a:extLst>
            </p:cNvPr>
            <p:cNvGrpSpPr/>
            <p:nvPr/>
          </p:nvGrpSpPr>
          <p:grpSpPr>
            <a:xfrm>
              <a:off x="3596951" y="1631406"/>
              <a:ext cx="406547" cy="399414"/>
              <a:chOff x="903288" y="6518275"/>
              <a:chExt cx="271462" cy="266700"/>
            </a:xfrm>
            <a:solidFill>
              <a:schemeClr val="bg1"/>
            </a:solidFill>
          </p:grpSpPr>
          <p:sp>
            <p:nvSpPr>
              <p:cNvPr id="19" name="Freeform 1840">
                <a:extLst>
                  <a:ext uri="{FF2B5EF4-FFF2-40B4-BE49-F238E27FC236}">
                    <a16:creationId xmlns:a16="http://schemas.microsoft.com/office/drawing/2014/main" id="{00B9C9F6-D489-4E66-8642-9BE1DFAF47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endParaRPr>
              </a:p>
            </p:txBody>
          </p:sp>
          <p:sp>
            <p:nvSpPr>
              <p:cNvPr id="20" name="Freeform 1841">
                <a:extLst>
                  <a:ext uri="{FF2B5EF4-FFF2-40B4-BE49-F238E27FC236}">
                    <a16:creationId xmlns:a16="http://schemas.microsoft.com/office/drawing/2014/main" id="{D4BF69CF-5E74-4DE6-82AC-A09C44C9E6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endParaRPr>
              </a:p>
            </p:txBody>
          </p:sp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F145C7B-AC51-4E9B-A73F-E1226088AA95}"/>
              </a:ext>
            </a:extLst>
          </p:cNvPr>
          <p:cNvGrpSpPr/>
          <p:nvPr/>
        </p:nvGrpSpPr>
        <p:grpSpPr>
          <a:xfrm>
            <a:off x="1420128" y="2543293"/>
            <a:ext cx="9351743" cy="1039698"/>
            <a:chOff x="1420128" y="2610323"/>
            <a:chExt cx="9351743" cy="1039698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EE74BC5-CAF8-4732-A44E-6835888D9DCE}"/>
                </a:ext>
              </a:extLst>
            </p:cNvPr>
            <p:cNvSpPr/>
            <p:nvPr/>
          </p:nvSpPr>
          <p:spPr>
            <a:xfrm>
              <a:off x="4031926" y="2765876"/>
              <a:ext cx="6739945" cy="7285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sp>
          <p:nvSpPr>
            <p:cNvPr id="24" name="Arrow: Pentagon 23">
              <a:extLst>
                <a:ext uri="{FF2B5EF4-FFF2-40B4-BE49-F238E27FC236}">
                  <a16:creationId xmlns:a16="http://schemas.microsoft.com/office/drawing/2014/main" id="{53BBB2D0-7E77-4877-A9E3-86C932E71CE4}"/>
                </a:ext>
              </a:extLst>
            </p:cNvPr>
            <p:cNvSpPr/>
            <p:nvPr/>
          </p:nvSpPr>
          <p:spPr>
            <a:xfrm>
              <a:off x="1420128" y="2765876"/>
              <a:ext cx="1907183" cy="728595"/>
            </a:xfrm>
            <a:prstGeom prst="homePlate">
              <a:avLst/>
            </a:prstGeom>
            <a:solidFill>
              <a:srgbClr val="FF45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Montserrat" pitchFamily="2" charset="0"/>
                </a:rPr>
                <a:t>Math or Science Electives </a:t>
              </a: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0FF005A8-2DF6-4C83-8550-1269143213A8}"/>
                </a:ext>
              </a:extLst>
            </p:cNvPr>
            <p:cNvSpPr/>
            <p:nvPr/>
          </p:nvSpPr>
          <p:spPr>
            <a:xfrm>
              <a:off x="2832360" y="2610323"/>
              <a:ext cx="1795842" cy="1039698"/>
            </a:xfrm>
            <a:prstGeom prst="chevron">
              <a:avLst/>
            </a:prstGeom>
            <a:solidFill>
              <a:srgbClr val="FF45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Montserrat" pitchFamily="2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B3DAD95-A0F0-474D-97B8-9BA7B9CE70E0}"/>
                </a:ext>
              </a:extLst>
            </p:cNvPr>
            <p:cNvSpPr/>
            <p:nvPr/>
          </p:nvSpPr>
          <p:spPr>
            <a:xfrm>
              <a:off x="4521870" y="2791618"/>
              <a:ext cx="6250001" cy="67710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  <a:hlinkClick r:id="rId5"/>
                </a:rPr>
                <a:t>Summer Space Camp (9-11), Academy (12-14), Advanced &amp; Elite Academy (15 – 18)</a:t>
              </a:r>
              <a:endPara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  <a:hlinkClick r:id="rId6"/>
                </a:rPr>
                <a:t>Summer STEM/Tech Camp (UAB)</a:t>
              </a:r>
              <a:endPara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  <a:hlinkClick r:id="rId7"/>
                </a:rPr>
                <a:t>2023 Alabama Computer Science Summer Camp (UA)</a:t>
              </a:r>
              <a:endPara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  <a:hlinkClick r:id="rId8"/>
                </a:rPr>
                <a:t>STEM Nova &amp; Supernova Boys Scouts of America Program</a:t>
              </a:r>
              <a:endPara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223F8D04-84F6-48F8-AD67-10ED22CDEE76}"/>
                </a:ext>
              </a:extLst>
            </p:cNvPr>
            <p:cNvGrpSpPr/>
            <p:nvPr/>
          </p:nvGrpSpPr>
          <p:grpSpPr>
            <a:xfrm>
              <a:off x="3596951" y="2930466"/>
              <a:ext cx="406547" cy="399414"/>
              <a:chOff x="903288" y="6518275"/>
              <a:chExt cx="271462" cy="266700"/>
            </a:xfrm>
            <a:solidFill>
              <a:schemeClr val="bg1"/>
            </a:solidFill>
          </p:grpSpPr>
          <p:sp>
            <p:nvSpPr>
              <p:cNvPr id="28" name="Freeform 1840">
                <a:extLst>
                  <a:ext uri="{FF2B5EF4-FFF2-40B4-BE49-F238E27FC236}">
                    <a16:creationId xmlns:a16="http://schemas.microsoft.com/office/drawing/2014/main" id="{45FF0784-8203-4576-8C41-79F5B8A7E8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Montserrat" pitchFamily="2" charset="0"/>
                </a:endParaRPr>
              </a:p>
            </p:txBody>
          </p:sp>
          <p:sp>
            <p:nvSpPr>
              <p:cNvPr id="29" name="Freeform 1841">
                <a:extLst>
                  <a:ext uri="{FF2B5EF4-FFF2-40B4-BE49-F238E27FC236}">
                    <a16:creationId xmlns:a16="http://schemas.microsoft.com/office/drawing/2014/main" id="{C1752015-0A0A-463C-9A3B-16AE08A65E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Montserrat" pitchFamily="2" charset="0"/>
                </a:endParaRPr>
              </a:p>
            </p:txBody>
          </p:sp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FA4FDF50-D0EC-48F9-9F89-0B6F776C255F}"/>
              </a:ext>
            </a:extLst>
          </p:cNvPr>
          <p:cNvGrpSpPr/>
          <p:nvPr/>
        </p:nvGrpSpPr>
        <p:grpSpPr>
          <a:xfrm>
            <a:off x="1420129" y="3775325"/>
            <a:ext cx="9351742" cy="1039698"/>
            <a:chOff x="1420129" y="3909385"/>
            <a:chExt cx="9351742" cy="103969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8A1CE1D-590D-4B28-8FC8-9551D7BA3E1E}"/>
                </a:ext>
              </a:extLst>
            </p:cNvPr>
            <p:cNvSpPr/>
            <p:nvPr/>
          </p:nvSpPr>
          <p:spPr>
            <a:xfrm>
              <a:off x="4031926" y="4064936"/>
              <a:ext cx="6739945" cy="7285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sp>
          <p:nvSpPr>
            <p:cNvPr id="32" name="Arrow: Pentagon 31">
              <a:extLst>
                <a:ext uri="{FF2B5EF4-FFF2-40B4-BE49-F238E27FC236}">
                  <a16:creationId xmlns:a16="http://schemas.microsoft.com/office/drawing/2014/main" id="{BC02E3FF-5BE4-4E1E-8B53-E28DF1B28616}"/>
                </a:ext>
              </a:extLst>
            </p:cNvPr>
            <p:cNvSpPr/>
            <p:nvPr/>
          </p:nvSpPr>
          <p:spPr>
            <a:xfrm>
              <a:off x="1420129" y="4064936"/>
              <a:ext cx="1795842" cy="728595"/>
            </a:xfrm>
            <a:prstGeom prst="homePlate">
              <a:avLst/>
            </a:prstGeom>
            <a:solidFill>
              <a:srgbClr val="0941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Montserrat" pitchFamily="2" charset="0"/>
                </a:rPr>
                <a:t>Physical Education Electives</a:t>
              </a:r>
            </a:p>
          </p:txBody>
        </p:sp>
        <p:sp>
          <p:nvSpPr>
            <p:cNvPr id="33" name="Arrow: Chevron 32">
              <a:extLst>
                <a:ext uri="{FF2B5EF4-FFF2-40B4-BE49-F238E27FC236}">
                  <a16:creationId xmlns:a16="http://schemas.microsoft.com/office/drawing/2014/main" id="{8E8E53B5-B0C2-46D2-805D-F63F31F699F9}"/>
                </a:ext>
              </a:extLst>
            </p:cNvPr>
            <p:cNvSpPr/>
            <p:nvPr/>
          </p:nvSpPr>
          <p:spPr>
            <a:xfrm>
              <a:off x="2726028" y="3909385"/>
              <a:ext cx="1795842" cy="1039698"/>
            </a:xfrm>
            <a:prstGeom prst="chevron">
              <a:avLst/>
            </a:prstGeom>
            <a:solidFill>
              <a:srgbClr val="0941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Montserrat" pitchFamily="2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D27AAB3-EE5C-482B-A745-6224AC86708C}"/>
                </a:ext>
              </a:extLst>
            </p:cNvPr>
            <p:cNvSpPr/>
            <p:nvPr/>
          </p:nvSpPr>
          <p:spPr>
            <a:xfrm>
              <a:off x="4628202" y="4175316"/>
              <a:ext cx="5995985" cy="5078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  <a:hlinkClick r:id="rId9"/>
                </a:rPr>
                <a:t>Lifeguard &amp; Water Safety Training/Certification </a:t>
              </a:r>
              <a:endPara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  <a:hlinkClick r:id="rId10"/>
                </a:rPr>
                <a:t>Competitive Ice-Skating or Hockey Programs &amp; Teams</a:t>
              </a:r>
              <a:endPara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  <a:hlinkClick r:id="rId11"/>
                </a:rPr>
                <a:t>Youth Recreation or Summer League Referee</a:t>
              </a:r>
              <a:endPara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11EBA43-D251-466A-83A9-06AF0B23BF9A}"/>
                </a:ext>
              </a:extLst>
            </p:cNvPr>
            <p:cNvGrpSpPr/>
            <p:nvPr/>
          </p:nvGrpSpPr>
          <p:grpSpPr>
            <a:xfrm>
              <a:off x="3596951" y="4229526"/>
              <a:ext cx="406547" cy="399414"/>
              <a:chOff x="903288" y="6518275"/>
              <a:chExt cx="271462" cy="266700"/>
            </a:xfrm>
            <a:solidFill>
              <a:schemeClr val="bg1"/>
            </a:solidFill>
          </p:grpSpPr>
          <p:sp>
            <p:nvSpPr>
              <p:cNvPr id="36" name="Freeform 1840">
                <a:extLst>
                  <a:ext uri="{FF2B5EF4-FFF2-40B4-BE49-F238E27FC236}">
                    <a16:creationId xmlns:a16="http://schemas.microsoft.com/office/drawing/2014/main" id="{2F37B97C-F0E5-4F1C-B0BB-052F621E67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Montserrat" pitchFamily="2" charset="0"/>
                </a:endParaRPr>
              </a:p>
            </p:txBody>
          </p:sp>
          <p:sp>
            <p:nvSpPr>
              <p:cNvPr id="37" name="Freeform 1841">
                <a:extLst>
                  <a:ext uri="{FF2B5EF4-FFF2-40B4-BE49-F238E27FC236}">
                    <a16:creationId xmlns:a16="http://schemas.microsoft.com/office/drawing/2014/main" id="{72E67992-BBCA-4413-B8AB-A440C8AE7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Montserrat" pitchFamily="2" charset="0"/>
                </a:endParaRPr>
              </a:p>
            </p:txBody>
          </p:sp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64BA024C-0FD5-4700-9FD0-2F2E9E691BAD}"/>
              </a:ext>
            </a:extLst>
          </p:cNvPr>
          <p:cNvGrpSpPr/>
          <p:nvPr/>
        </p:nvGrpSpPr>
        <p:grpSpPr>
          <a:xfrm>
            <a:off x="1420129" y="5007356"/>
            <a:ext cx="9351742" cy="1039698"/>
            <a:chOff x="1420129" y="5208446"/>
            <a:chExt cx="9351742" cy="1039698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EDC904D-2302-4121-AB36-ED67BE7422AE}"/>
                </a:ext>
              </a:extLst>
            </p:cNvPr>
            <p:cNvSpPr/>
            <p:nvPr/>
          </p:nvSpPr>
          <p:spPr>
            <a:xfrm>
              <a:off x="4031926" y="5363997"/>
              <a:ext cx="6739945" cy="7285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sp>
          <p:nvSpPr>
            <p:cNvPr id="40" name="Arrow: Pentagon 39">
              <a:extLst>
                <a:ext uri="{FF2B5EF4-FFF2-40B4-BE49-F238E27FC236}">
                  <a16:creationId xmlns:a16="http://schemas.microsoft.com/office/drawing/2014/main" id="{DED3D2AC-7846-436B-804A-E50D8C983300}"/>
                </a:ext>
              </a:extLst>
            </p:cNvPr>
            <p:cNvSpPr/>
            <p:nvPr/>
          </p:nvSpPr>
          <p:spPr>
            <a:xfrm>
              <a:off x="1420129" y="5363997"/>
              <a:ext cx="1795842" cy="728595"/>
            </a:xfrm>
            <a:prstGeom prst="homePlat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Montserrat" pitchFamily="2" charset="0"/>
                </a:rPr>
                <a:t>Other Electives</a:t>
              </a:r>
            </a:p>
          </p:txBody>
        </p:sp>
        <p:sp>
          <p:nvSpPr>
            <p:cNvPr id="41" name="Arrow: Chevron 40">
              <a:extLst>
                <a:ext uri="{FF2B5EF4-FFF2-40B4-BE49-F238E27FC236}">
                  <a16:creationId xmlns:a16="http://schemas.microsoft.com/office/drawing/2014/main" id="{3D98B904-C476-4C8C-B316-C8E07196AD6D}"/>
                </a:ext>
              </a:extLst>
            </p:cNvPr>
            <p:cNvSpPr/>
            <p:nvPr/>
          </p:nvSpPr>
          <p:spPr>
            <a:xfrm>
              <a:off x="2726028" y="5208446"/>
              <a:ext cx="1795842" cy="1039698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Montserrat" pitchFamily="2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0261A00-CAB9-44E4-B601-B542B8FEAE07}"/>
                </a:ext>
              </a:extLst>
            </p:cNvPr>
            <p:cNvSpPr/>
            <p:nvPr/>
          </p:nvSpPr>
          <p:spPr>
            <a:xfrm>
              <a:off x="4628202" y="5389739"/>
              <a:ext cx="5995985" cy="67710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  <a:hlinkClick r:id="rId12"/>
                </a:rPr>
                <a:t>Boys or Girls State </a:t>
              </a:r>
              <a:endPara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  <a:hlinkClick r:id="rId13"/>
                </a:rPr>
                <a:t>Community Based Organization (CBO) Student Work-Based Learning</a:t>
              </a:r>
              <a:endPara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  <a:p>
              <a:pPr algn="ctr">
                <a:buClr>
                  <a:schemeClr val="accent1"/>
                </a:buClr>
              </a:pPr>
              <a:r>
                <a:rPr lang="en-US" sz="1100" b="1" u="sng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CBO Examples</a:t>
              </a: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:  </a:t>
              </a: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  <a:hlinkClick r:id="rId14"/>
                </a:rPr>
                <a:t>Alabama 4-H </a:t>
              </a: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 or </a:t>
              </a: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  <a:hlinkClick r:id="rId15"/>
                </a:rPr>
                <a:t>YMCA Summer Camp Counselor</a:t>
              </a:r>
              <a:endPara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  <a:hlinkClick r:id="rId16"/>
                </a:rPr>
                <a:t>Youth Leadership Development Programs</a:t>
              </a:r>
              <a:endPara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D57015CC-8BC8-4AD6-964B-3B8F70239312}"/>
                </a:ext>
              </a:extLst>
            </p:cNvPr>
            <p:cNvGrpSpPr/>
            <p:nvPr/>
          </p:nvGrpSpPr>
          <p:grpSpPr>
            <a:xfrm>
              <a:off x="3596951" y="5528587"/>
              <a:ext cx="406547" cy="399414"/>
              <a:chOff x="903288" y="6518275"/>
              <a:chExt cx="271462" cy="266700"/>
            </a:xfrm>
            <a:solidFill>
              <a:schemeClr val="bg1"/>
            </a:solidFill>
          </p:grpSpPr>
          <p:sp>
            <p:nvSpPr>
              <p:cNvPr id="44" name="Freeform 1840">
                <a:extLst>
                  <a:ext uri="{FF2B5EF4-FFF2-40B4-BE49-F238E27FC236}">
                    <a16:creationId xmlns:a16="http://schemas.microsoft.com/office/drawing/2014/main" id="{86BCCD7D-785B-4CCC-BB69-5AE4EE4D6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Montserrat" pitchFamily="2" charset="0"/>
                </a:endParaRPr>
              </a:p>
            </p:txBody>
          </p:sp>
          <p:sp>
            <p:nvSpPr>
              <p:cNvPr id="45" name="Freeform 1841">
                <a:extLst>
                  <a:ext uri="{FF2B5EF4-FFF2-40B4-BE49-F238E27FC236}">
                    <a16:creationId xmlns:a16="http://schemas.microsoft.com/office/drawing/2014/main" id="{2E87F11D-D5DD-478E-A327-2702C04B5F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Montserrat" pitchFamily="2" charset="0"/>
                </a:endParaRPr>
              </a:p>
            </p:txBody>
          </p: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BC6B285-1192-4505-B6D6-321939A1E06F}"/>
              </a:ext>
            </a:extLst>
          </p:cNvPr>
          <p:cNvGrpSpPr/>
          <p:nvPr/>
        </p:nvGrpSpPr>
        <p:grpSpPr>
          <a:xfrm>
            <a:off x="0" y="6388725"/>
            <a:ext cx="12192001" cy="469276"/>
            <a:chOff x="0" y="6388725"/>
            <a:chExt cx="12192001" cy="469276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1AC9EDE-E11E-41D3-AFCF-1AE2BF3C9C7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722725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0EF917ED-95A1-43A0-9815-B1227C63A8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0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6FE4FC1-FD12-46FA-BAF4-DF91EC3DCDD8}"/>
              </a:ext>
            </a:extLst>
          </p:cNvPr>
          <p:cNvGrpSpPr/>
          <p:nvPr/>
        </p:nvGrpSpPr>
        <p:grpSpPr>
          <a:xfrm flipV="1">
            <a:off x="0" y="0"/>
            <a:ext cx="12192001" cy="469276"/>
            <a:chOff x="0" y="6388725"/>
            <a:chExt cx="12192001" cy="469276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E85DA5D-AAFD-4D08-8AA5-89FA1307FAA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722725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215F2721-A60F-435C-9521-FC9C523343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0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Slide Number Placeholder 63">
            <a:extLst>
              <a:ext uri="{FF2B5EF4-FFF2-40B4-BE49-F238E27FC236}">
                <a16:creationId xmlns:a16="http://schemas.microsoft.com/office/drawing/2014/main" id="{25886065-57E9-4A13-980D-FB51F031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875"/>
            <a:ext cx="2743200" cy="365125"/>
          </a:xfrm>
        </p:spPr>
        <p:txBody>
          <a:bodyPr/>
          <a:lstStyle/>
          <a:p>
            <a:fld id="{358A3C94-99AD-4370-9394-C6F447157082}" type="slidenum">
              <a:rPr lang="en-US" smtClean="0">
                <a:latin typeface="Montserrat" pitchFamily="2" charset="0"/>
              </a:rPr>
              <a:t>3</a:t>
            </a:fld>
            <a:endParaRPr lang="en-US" dirty="0"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76873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4BBE90C5-C25D-4B9C-A9A1-57BB02853EC6}"/>
              </a:ext>
            </a:extLst>
          </p:cNvPr>
          <p:cNvGrpSpPr/>
          <p:nvPr/>
        </p:nvGrpSpPr>
        <p:grpSpPr>
          <a:xfrm>
            <a:off x="-1" y="-1"/>
            <a:ext cx="12192001" cy="6858001"/>
            <a:chOff x="0" y="0"/>
            <a:chExt cx="12192001" cy="6858001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576DBC4C-9AD8-450C-8066-EC09A801CD69}"/>
                </a:ext>
              </a:extLst>
            </p:cNvPr>
            <p:cNvSpPr/>
            <p:nvPr/>
          </p:nvSpPr>
          <p:spPr>
            <a:xfrm>
              <a:off x="333829" y="337457"/>
              <a:ext cx="11524342" cy="6183086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1AC9EDE-E11E-41D3-AFCF-1AE2BF3C9C7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722725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0EF917ED-95A1-43A0-9815-B1227C63A8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0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E85DA5D-AAFD-4D08-8AA5-89FA1307FAA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722725" y="0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215F2721-A60F-435C-9521-FC9C5233433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0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2E42C2D4-2319-4124-B35C-620BDC9D3D9B}"/>
              </a:ext>
            </a:extLst>
          </p:cNvPr>
          <p:cNvSpPr txBox="1"/>
          <p:nvPr/>
        </p:nvSpPr>
        <p:spPr>
          <a:xfrm>
            <a:off x="0" y="434933"/>
            <a:ext cx="12192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Considerations for Credit-Bearing ELOs</a:t>
            </a:r>
          </a:p>
          <a:p>
            <a:pPr algn="ctr"/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    Does the Extended Learning Opportunity… </a:t>
            </a:r>
          </a:p>
        </p:txBody>
      </p:sp>
      <p:sp>
        <p:nvSpPr>
          <p:cNvPr id="64" name="Slide Number Placeholder 63">
            <a:extLst>
              <a:ext uri="{FF2B5EF4-FFF2-40B4-BE49-F238E27FC236}">
                <a16:creationId xmlns:a16="http://schemas.microsoft.com/office/drawing/2014/main" id="{25886065-57E9-4A13-980D-FB51F031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875"/>
            <a:ext cx="2743200" cy="365125"/>
          </a:xfrm>
        </p:spPr>
        <p:txBody>
          <a:bodyPr/>
          <a:lstStyle/>
          <a:p>
            <a:fld id="{358A3C94-99AD-4370-9394-C6F447157082}" type="slidenum">
              <a:rPr lang="en-US" smtClean="0">
                <a:latin typeface="Montserrat" pitchFamily="2" charset="0"/>
              </a:rPr>
              <a:t>4</a:t>
            </a:fld>
            <a:endParaRPr lang="en-US" dirty="0">
              <a:latin typeface="Montserrat" pitchFamily="2" charset="0"/>
            </a:endParaRPr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88859690-527A-4426-938E-945F519F8674}"/>
              </a:ext>
            </a:extLst>
          </p:cNvPr>
          <p:cNvSpPr/>
          <p:nvPr/>
        </p:nvSpPr>
        <p:spPr>
          <a:xfrm rot="2700000">
            <a:off x="4053329" y="1292793"/>
            <a:ext cx="1974222" cy="982001"/>
          </a:xfrm>
          <a:custGeom>
            <a:avLst/>
            <a:gdLst>
              <a:gd name="connsiteX0" fmla="*/ 1004865 w 2048959"/>
              <a:gd name="connsiteY0" fmla="*/ 12038 h 1019176"/>
              <a:gd name="connsiteX1" fmla="*/ 1016903 w 2048959"/>
              <a:gd name="connsiteY1" fmla="*/ 0 h 1019176"/>
              <a:gd name="connsiteX2" fmla="*/ 2048959 w 2048959"/>
              <a:gd name="connsiteY2" fmla="*/ 0 h 1019176"/>
              <a:gd name="connsiteX3" fmla="*/ 2048959 w 2048959"/>
              <a:gd name="connsiteY3" fmla="*/ 1019175 h 1019176"/>
              <a:gd name="connsiteX4" fmla="*/ 1439060 w 2048959"/>
              <a:gd name="connsiteY4" fmla="*/ 1019175 h 1019176"/>
              <a:gd name="connsiteX5" fmla="*/ 1725531 w 2048959"/>
              <a:gd name="connsiteY5" fmla="*/ 732703 h 1019176"/>
              <a:gd name="connsiteX6" fmla="*/ 0 w 2048959"/>
              <a:gd name="connsiteY6" fmla="*/ 1016903 h 1019176"/>
              <a:gd name="connsiteX7" fmla="*/ 1004864 w 2048959"/>
              <a:gd name="connsiteY7" fmla="*/ 12039 h 1019176"/>
              <a:gd name="connsiteX8" fmla="*/ 1725530 w 2048959"/>
              <a:gd name="connsiteY8" fmla="*/ 732704 h 1019176"/>
              <a:gd name="connsiteX9" fmla="*/ 1439059 w 2048959"/>
              <a:gd name="connsiteY9" fmla="*/ 1019176 h 1019176"/>
              <a:gd name="connsiteX10" fmla="*/ 0 w 2048959"/>
              <a:gd name="connsiteY10" fmla="*/ 1019176 h 1019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48959" h="1019176">
                <a:moveTo>
                  <a:pt x="1004865" y="12038"/>
                </a:moveTo>
                <a:lnTo>
                  <a:pt x="1016903" y="0"/>
                </a:lnTo>
                <a:lnTo>
                  <a:pt x="2048959" y="0"/>
                </a:lnTo>
                <a:lnTo>
                  <a:pt x="2048959" y="1019175"/>
                </a:lnTo>
                <a:lnTo>
                  <a:pt x="1439060" y="1019175"/>
                </a:lnTo>
                <a:lnTo>
                  <a:pt x="1725531" y="732703"/>
                </a:lnTo>
                <a:close/>
                <a:moveTo>
                  <a:pt x="0" y="1016903"/>
                </a:moveTo>
                <a:lnTo>
                  <a:pt x="1004864" y="12039"/>
                </a:lnTo>
                <a:lnTo>
                  <a:pt x="1725530" y="732704"/>
                </a:lnTo>
                <a:lnTo>
                  <a:pt x="1439059" y="1019176"/>
                </a:lnTo>
                <a:lnTo>
                  <a:pt x="0" y="1019176"/>
                </a:lnTo>
                <a:close/>
              </a:path>
            </a:pathLst>
          </a:custGeom>
          <a:solidFill>
            <a:srgbClr val="5FB9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90B1CB3D-7C81-4A3C-B035-24506DEE536F}"/>
              </a:ext>
            </a:extLst>
          </p:cNvPr>
          <p:cNvSpPr/>
          <p:nvPr/>
        </p:nvSpPr>
        <p:spPr>
          <a:xfrm rot="2700000">
            <a:off x="651372" y="620052"/>
            <a:ext cx="3786419" cy="3094230"/>
          </a:xfrm>
          <a:custGeom>
            <a:avLst/>
            <a:gdLst>
              <a:gd name="connsiteX0" fmla="*/ 0 w 3929759"/>
              <a:gd name="connsiteY0" fmla="*/ 2490701 h 3211366"/>
              <a:gd name="connsiteX1" fmla="*/ 2490700 w 3929759"/>
              <a:gd name="connsiteY1" fmla="*/ 0 h 3211366"/>
              <a:gd name="connsiteX2" fmla="*/ 2490700 w 3929759"/>
              <a:gd name="connsiteY2" fmla="*/ 2273 h 3211366"/>
              <a:gd name="connsiteX3" fmla="*/ 3929759 w 3929759"/>
              <a:gd name="connsiteY3" fmla="*/ 2273 h 3211366"/>
              <a:gd name="connsiteX4" fmla="*/ 720665 w 3929759"/>
              <a:gd name="connsiteY4" fmla="*/ 3211366 h 3211366"/>
              <a:gd name="connsiteX5" fmla="*/ 0 w 3929759"/>
              <a:gd name="connsiteY5" fmla="*/ 2490701 h 3211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29759" h="3211366">
                <a:moveTo>
                  <a:pt x="0" y="2490701"/>
                </a:moveTo>
                <a:lnTo>
                  <a:pt x="2490700" y="0"/>
                </a:lnTo>
                <a:lnTo>
                  <a:pt x="2490700" y="2273"/>
                </a:lnTo>
                <a:lnTo>
                  <a:pt x="3929759" y="2273"/>
                </a:lnTo>
                <a:lnTo>
                  <a:pt x="720665" y="3211366"/>
                </a:lnTo>
                <a:lnTo>
                  <a:pt x="0" y="2490701"/>
                </a:lnTo>
                <a:close/>
              </a:path>
            </a:pathLst>
          </a:custGeom>
          <a:solidFill>
            <a:srgbClr val="5FB9C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04" name="Freeform: Shape 103">
            <a:extLst>
              <a:ext uri="{FF2B5EF4-FFF2-40B4-BE49-F238E27FC236}">
                <a16:creationId xmlns:a16="http://schemas.microsoft.com/office/drawing/2014/main" id="{B4D5805E-4FA5-4E12-8182-D8A80282E169}"/>
              </a:ext>
            </a:extLst>
          </p:cNvPr>
          <p:cNvSpPr/>
          <p:nvPr/>
        </p:nvSpPr>
        <p:spPr>
          <a:xfrm rot="2700000">
            <a:off x="4053331" y="2830856"/>
            <a:ext cx="1974222" cy="982001"/>
          </a:xfrm>
          <a:custGeom>
            <a:avLst/>
            <a:gdLst>
              <a:gd name="connsiteX0" fmla="*/ 1004865 w 2048959"/>
              <a:gd name="connsiteY0" fmla="*/ 12038 h 1019176"/>
              <a:gd name="connsiteX1" fmla="*/ 1016903 w 2048959"/>
              <a:gd name="connsiteY1" fmla="*/ 0 h 1019176"/>
              <a:gd name="connsiteX2" fmla="*/ 2048959 w 2048959"/>
              <a:gd name="connsiteY2" fmla="*/ 0 h 1019176"/>
              <a:gd name="connsiteX3" fmla="*/ 2048959 w 2048959"/>
              <a:gd name="connsiteY3" fmla="*/ 1019175 h 1019176"/>
              <a:gd name="connsiteX4" fmla="*/ 1439060 w 2048959"/>
              <a:gd name="connsiteY4" fmla="*/ 1019175 h 1019176"/>
              <a:gd name="connsiteX5" fmla="*/ 1725531 w 2048959"/>
              <a:gd name="connsiteY5" fmla="*/ 732703 h 1019176"/>
              <a:gd name="connsiteX6" fmla="*/ 0 w 2048959"/>
              <a:gd name="connsiteY6" fmla="*/ 1016903 h 1019176"/>
              <a:gd name="connsiteX7" fmla="*/ 1004864 w 2048959"/>
              <a:gd name="connsiteY7" fmla="*/ 12039 h 1019176"/>
              <a:gd name="connsiteX8" fmla="*/ 1725530 w 2048959"/>
              <a:gd name="connsiteY8" fmla="*/ 732704 h 1019176"/>
              <a:gd name="connsiteX9" fmla="*/ 1439059 w 2048959"/>
              <a:gd name="connsiteY9" fmla="*/ 1019176 h 1019176"/>
              <a:gd name="connsiteX10" fmla="*/ 0 w 2048959"/>
              <a:gd name="connsiteY10" fmla="*/ 1019176 h 1019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48959" h="1019176">
                <a:moveTo>
                  <a:pt x="1004865" y="12038"/>
                </a:moveTo>
                <a:lnTo>
                  <a:pt x="1016903" y="0"/>
                </a:lnTo>
                <a:lnTo>
                  <a:pt x="2048959" y="0"/>
                </a:lnTo>
                <a:lnTo>
                  <a:pt x="2048959" y="1019175"/>
                </a:lnTo>
                <a:lnTo>
                  <a:pt x="1439060" y="1019175"/>
                </a:lnTo>
                <a:lnTo>
                  <a:pt x="1725531" y="732703"/>
                </a:lnTo>
                <a:close/>
                <a:moveTo>
                  <a:pt x="0" y="1016903"/>
                </a:moveTo>
                <a:lnTo>
                  <a:pt x="1004864" y="12039"/>
                </a:lnTo>
                <a:lnTo>
                  <a:pt x="1725530" y="732704"/>
                </a:lnTo>
                <a:lnTo>
                  <a:pt x="1439059" y="1019176"/>
                </a:lnTo>
                <a:lnTo>
                  <a:pt x="0" y="1019176"/>
                </a:lnTo>
                <a:close/>
              </a:path>
            </a:pathLst>
          </a:custGeom>
          <a:solidFill>
            <a:srgbClr val="FF45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05" name="Freeform: Shape 104">
            <a:extLst>
              <a:ext uri="{FF2B5EF4-FFF2-40B4-BE49-F238E27FC236}">
                <a16:creationId xmlns:a16="http://schemas.microsoft.com/office/drawing/2014/main" id="{47D4A0A5-AD6F-4A80-90B0-2E568164FC2D}"/>
              </a:ext>
            </a:extLst>
          </p:cNvPr>
          <p:cNvSpPr/>
          <p:nvPr/>
        </p:nvSpPr>
        <p:spPr>
          <a:xfrm rot="2700000">
            <a:off x="669148" y="2158115"/>
            <a:ext cx="3786419" cy="3094230"/>
          </a:xfrm>
          <a:custGeom>
            <a:avLst/>
            <a:gdLst>
              <a:gd name="connsiteX0" fmla="*/ 0 w 3929759"/>
              <a:gd name="connsiteY0" fmla="*/ 2490701 h 3211366"/>
              <a:gd name="connsiteX1" fmla="*/ 2490700 w 3929759"/>
              <a:gd name="connsiteY1" fmla="*/ 0 h 3211366"/>
              <a:gd name="connsiteX2" fmla="*/ 2490700 w 3929759"/>
              <a:gd name="connsiteY2" fmla="*/ 2273 h 3211366"/>
              <a:gd name="connsiteX3" fmla="*/ 3929759 w 3929759"/>
              <a:gd name="connsiteY3" fmla="*/ 2273 h 3211366"/>
              <a:gd name="connsiteX4" fmla="*/ 720665 w 3929759"/>
              <a:gd name="connsiteY4" fmla="*/ 3211366 h 3211366"/>
              <a:gd name="connsiteX5" fmla="*/ 0 w 3929759"/>
              <a:gd name="connsiteY5" fmla="*/ 2490701 h 3211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29759" h="3211366">
                <a:moveTo>
                  <a:pt x="0" y="2490701"/>
                </a:moveTo>
                <a:lnTo>
                  <a:pt x="2490700" y="0"/>
                </a:lnTo>
                <a:lnTo>
                  <a:pt x="2490700" y="2273"/>
                </a:lnTo>
                <a:lnTo>
                  <a:pt x="3929759" y="2273"/>
                </a:lnTo>
                <a:lnTo>
                  <a:pt x="720665" y="3211366"/>
                </a:lnTo>
                <a:lnTo>
                  <a:pt x="0" y="2490701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32077A25-4FA2-4AFD-B11E-9BF47BE13B4C}"/>
              </a:ext>
            </a:extLst>
          </p:cNvPr>
          <p:cNvSpPr/>
          <p:nvPr/>
        </p:nvSpPr>
        <p:spPr>
          <a:xfrm rot="2700000">
            <a:off x="4053330" y="4368919"/>
            <a:ext cx="1974222" cy="982001"/>
          </a:xfrm>
          <a:custGeom>
            <a:avLst/>
            <a:gdLst>
              <a:gd name="connsiteX0" fmla="*/ 1004865 w 2048959"/>
              <a:gd name="connsiteY0" fmla="*/ 12038 h 1019176"/>
              <a:gd name="connsiteX1" fmla="*/ 1016903 w 2048959"/>
              <a:gd name="connsiteY1" fmla="*/ 0 h 1019176"/>
              <a:gd name="connsiteX2" fmla="*/ 2048959 w 2048959"/>
              <a:gd name="connsiteY2" fmla="*/ 0 h 1019176"/>
              <a:gd name="connsiteX3" fmla="*/ 2048959 w 2048959"/>
              <a:gd name="connsiteY3" fmla="*/ 1019175 h 1019176"/>
              <a:gd name="connsiteX4" fmla="*/ 1439060 w 2048959"/>
              <a:gd name="connsiteY4" fmla="*/ 1019175 h 1019176"/>
              <a:gd name="connsiteX5" fmla="*/ 1725531 w 2048959"/>
              <a:gd name="connsiteY5" fmla="*/ 732703 h 1019176"/>
              <a:gd name="connsiteX6" fmla="*/ 0 w 2048959"/>
              <a:gd name="connsiteY6" fmla="*/ 1016903 h 1019176"/>
              <a:gd name="connsiteX7" fmla="*/ 1004864 w 2048959"/>
              <a:gd name="connsiteY7" fmla="*/ 12039 h 1019176"/>
              <a:gd name="connsiteX8" fmla="*/ 1725530 w 2048959"/>
              <a:gd name="connsiteY8" fmla="*/ 732704 h 1019176"/>
              <a:gd name="connsiteX9" fmla="*/ 1439059 w 2048959"/>
              <a:gd name="connsiteY9" fmla="*/ 1019176 h 1019176"/>
              <a:gd name="connsiteX10" fmla="*/ 0 w 2048959"/>
              <a:gd name="connsiteY10" fmla="*/ 1019176 h 1019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48959" h="1019176">
                <a:moveTo>
                  <a:pt x="1004865" y="12038"/>
                </a:moveTo>
                <a:lnTo>
                  <a:pt x="1016903" y="0"/>
                </a:lnTo>
                <a:lnTo>
                  <a:pt x="2048959" y="0"/>
                </a:lnTo>
                <a:lnTo>
                  <a:pt x="2048959" y="1019175"/>
                </a:lnTo>
                <a:lnTo>
                  <a:pt x="1439060" y="1019175"/>
                </a:lnTo>
                <a:lnTo>
                  <a:pt x="1725531" y="732703"/>
                </a:lnTo>
                <a:close/>
                <a:moveTo>
                  <a:pt x="0" y="1016903"/>
                </a:moveTo>
                <a:lnTo>
                  <a:pt x="1004864" y="12039"/>
                </a:lnTo>
                <a:lnTo>
                  <a:pt x="1725530" y="732704"/>
                </a:lnTo>
                <a:lnTo>
                  <a:pt x="1439059" y="1019176"/>
                </a:lnTo>
                <a:lnTo>
                  <a:pt x="0" y="1019176"/>
                </a:lnTo>
                <a:close/>
              </a:path>
            </a:pathLst>
          </a:custGeom>
          <a:solidFill>
            <a:srgbClr val="0941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CAEAC5B4-3F16-41CC-8195-9ACDA3FD8CA8}"/>
              </a:ext>
            </a:extLst>
          </p:cNvPr>
          <p:cNvSpPr/>
          <p:nvPr/>
        </p:nvSpPr>
        <p:spPr>
          <a:xfrm rot="2700000">
            <a:off x="651373" y="3696178"/>
            <a:ext cx="3786419" cy="3094230"/>
          </a:xfrm>
          <a:custGeom>
            <a:avLst/>
            <a:gdLst>
              <a:gd name="connsiteX0" fmla="*/ 0 w 3929759"/>
              <a:gd name="connsiteY0" fmla="*/ 2490701 h 3211366"/>
              <a:gd name="connsiteX1" fmla="*/ 2490700 w 3929759"/>
              <a:gd name="connsiteY1" fmla="*/ 0 h 3211366"/>
              <a:gd name="connsiteX2" fmla="*/ 2490700 w 3929759"/>
              <a:gd name="connsiteY2" fmla="*/ 2273 h 3211366"/>
              <a:gd name="connsiteX3" fmla="*/ 3929759 w 3929759"/>
              <a:gd name="connsiteY3" fmla="*/ 2273 h 3211366"/>
              <a:gd name="connsiteX4" fmla="*/ 720665 w 3929759"/>
              <a:gd name="connsiteY4" fmla="*/ 3211366 h 3211366"/>
              <a:gd name="connsiteX5" fmla="*/ 0 w 3929759"/>
              <a:gd name="connsiteY5" fmla="*/ 2490701 h 3211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29759" h="3211366">
                <a:moveTo>
                  <a:pt x="0" y="2490701"/>
                </a:moveTo>
                <a:lnTo>
                  <a:pt x="2490700" y="0"/>
                </a:lnTo>
                <a:lnTo>
                  <a:pt x="2490700" y="2273"/>
                </a:lnTo>
                <a:lnTo>
                  <a:pt x="3929759" y="2273"/>
                </a:lnTo>
                <a:lnTo>
                  <a:pt x="720665" y="3211366"/>
                </a:lnTo>
                <a:lnTo>
                  <a:pt x="0" y="2490701"/>
                </a:lnTo>
                <a:close/>
              </a:path>
            </a:pathLst>
          </a:custGeom>
          <a:solidFill>
            <a:srgbClr val="094156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14" name="Freeform: Shape 113">
            <a:extLst>
              <a:ext uri="{FF2B5EF4-FFF2-40B4-BE49-F238E27FC236}">
                <a16:creationId xmlns:a16="http://schemas.microsoft.com/office/drawing/2014/main" id="{E757225A-E5FC-4F33-B402-D9B74DF52190}"/>
              </a:ext>
            </a:extLst>
          </p:cNvPr>
          <p:cNvSpPr/>
          <p:nvPr/>
        </p:nvSpPr>
        <p:spPr>
          <a:xfrm rot="2700000">
            <a:off x="9716420" y="1292793"/>
            <a:ext cx="1974222" cy="982001"/>
          </a:xfrm>
          <a:custGeom>
            <a:avLst/>
            <a:gdLst>
              <a:gd name="connsiteX0" fmla="*/ 1004865 w 2048959"/>
              <a:gd name="connsiteY0" fmla="*/ 12038 h 1019176"/>
              <a:gd name="connsiteX1" fmla="*/ 1016903 w 2048959"/>
              <a:gd name="connsiteY1" fmla="*/ 0 h 1019176"/>
              <a:gd name="connsiteX2" fmla="*/ 2048959 w 2048959"/>
              <a:gd name="connsiteY2" fmla="*/ 0 h 1019176"/>
              <a:gd name="connsiteX3" fmla="*/ 2048959 w 2048959"/>
              <a:gd name="connsiteY3" fmla="*/ 1019175 h 1019176"/>
              <a:gd name="connsiteX4" fmla="*/ 1439060 w 2048959"/>
              <a:gd name="connsiteY4" fmla="*/ 1019175 h 1019176"/>
              <a:gd name="connsiteX5" fmla="*/ 1725531 w 2048959"/>
              <a:gd name="connsiteY5" fmla="*/ 732703 h 1019176"/>
              <a:gd name="connsiteX6" fmla="*/ 0 w 2048959"/>
              <a:gd name="connsiteY6" fmla="*/ 1016903 h 1019176"/>
              <a:gd name="connsiteX7" fmla="*/ 1004864 w 2048959"/>
              <a:gd name="connsiteY7" fmla="*/ 12039 h 1019176"/>
              <a:gd name="connsiteX8" fmla="*/ 1725530 w 2048959"/>
              <a:gd name="connsiteY8" fmla="*/ 732704 h 1019176"/>
              <a:gd name="connsiteX9" fmla="*/ 1439059 w 2048959"/>
              <a:gd name="connsiteY9" fmla="*/ 1019176 h 1019176"/>
              <a:gd name="connsiteX10" fmla="*/ 0 w 2048959"/>
              <a:gd name="connsiteY10" fmla="*/ 1019176 h 1019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48959" h="1019176">
                <a:moveTo>
                  <a:pt x="1004865" y="12038"/>
                </a:moveTo>
                <a:lnTo>
                  <a:pt x="1016903" y="0"/>
                </a:lnTo>
                <a:lnTo>
                  <a:pt x="2048959" y="0"/>
                </a:lnTo>
                <a:lnTo>
                  <a:pt x="2048959" y="1019175"/>
                </a:lnTo>
                <a:lnTo>
                  <a:pt x="1439060" y="1019175"/>
                </a:lnTo>
                <a:lnTo>
                  <a:pt x="1725531" y="732703"/>
                </a:lnTo>
                <a:close/>
                <a:moveTo>
                  <a:pt x="0" y="1016903"/>
                </a:moveTo>
                <a:lnTo>
                  <a:pt x="1004864" y="12039"/>
                </a:lnTo>
                <a:lnTo>
                  <a:pt x="1725530" y="732704"/>
                </a:lnTo>
                <a:lnTo>
                  <a:pt x="1439059" y="1019176"/>
                </a:lnTo>
                <a:lnTo>
                  <a:pt x="0" y="1019176"/>
                </a:lnTo>
                <a:close/>
              </a:path>
            </a:pathLst>
          </a:custGeom>
          <a:solidFill>
            <a:srgbClr val="5FB9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E2F003DA-A780-4F7F-9853-0A22B8A6DEA7}"/>
              </a:ext>
            </a:extLst>
          </p:cNvPr>
          <p:cNvSpPr/>
          <p:nvPr/>
        </p:nvSpPr>
        <p:spPr>
          <a:xfrm rot="2700000">
            <a:off x="6259727" y="628909"/>
            <a:ext cx="3786419" cy="3094230"/>
          </a:xfrm>
          <a:custGeom>
            <a:avLst/>
            <a:gdLst>
              <a:gd name="connsiteX0" fmla="*/ 0 w 3929759"/>
              <a:gd name="connsiteY0" fmla="*/ 2490701 h 3211366"/>
              <a:gd name="connsiteX1" fmla="*/ 2490700 w 3929759"/>
              <a:gd name="connsiteY1" fmla="*/ 0 h 3211366"/>
              <a:gd name="connsiteX2" fmla="*/ 2490700 w 3929759"/>
              <a:gd name="connsiteY2" fmla="*/ 2273 h 3211366"/>
              <a:gd name="connsiteX3" fmla="*/ 3929759 w 3929759"/>
              <a:gd name="connsiteY3" fmla="*/ 2273 h 3211366"/>
              <a:gd name="connsiteX4" fmla="*/ 720665 w 3929759"/>
              <a:gd name="connsiteY4" fmla="*/ 3211366 h 3211366"/>
              <a:gd name="connsiteX5" fmla="*/ 0 w 3929759"/>
              <a:gd name="connsiteY5" fmla="*/ 2490701 h 3211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29759" h="3211366">
                <a:moveTo>
                  <a:pt x="0" y="2490701"/>
                </a:moveTo>
                <a:lnTo>
                  <a:pt x="2490700" y="0"/>
                </a:lnTo>
                <a:lnTo>
                  <a:pt x="2490700" y="2273"/>
                </a:lnTo>
                <a:lnTo>
                  <a:pt x="3929759" y="2273"/>
                </a:lnTo>
                <a:lnTo>
                  <a:pt x="720665" y="3211366"/>
                </a:lnTo>
                <a:lnTo>
                  <a:pt x="0" y="2490701"/>
                </a:lnTo>
                <a:close/>
              </a:path>
            </a:pathLst>
          </a:custGeom>
          <a:solidFill>
            <a:srgbClr val="5FB9C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F2405906-0FDA-45D2-98E5-1078A861CA5C}"/>
              </a:ext>
            </a:extLst>
          </p:cNvPr>
          <p:cNvSpPr/>
          <p:nvPr/>
        </p:nvSpPr>
        <p:spPr>
          <a:xfrm rot="2700000">
            <a:off x="6420748" y="2158114"/>
            <a:ext cx="3786419" cy="3094230"/>
          </a:xfrm>
          <a:custGeom>
            <a:avLst/>
            <a:gdLst>
              <a:gd name="connsiteX0" fmla="*/ 0 w 3929759"/>
              <a:gd name="connsiteY0" fmla="*/ 2490701 h 3211366"/>
              <a:gd name="connsiteX1" fmla="*/ 2490700 w 3929759"/>
              <a:gd name="connsiteY1" fmla="*/ 0 h 3211366"/>
              <a:gd name="connsiteX2" fmla="*/ 2490700 w 3929759"/>
              <a:gd name="connsiteY2" fmla="*/ 2273 h 3211366"/>
              <a:gd name="connsiteX3" fmla="*/ 3929759 w 3929759"/>
              <a:gd name="connsiteY3" fmla="*/ 2273 h 3211366"/>
              <a:gd name="connsiteX4" fmla="*/ 720665 w 3929759"/>
              <a:gd name="connsiteY4" fmla="*/ 3211366 h 3211366"/>
              <a:gd name="connsiteX5" fmla="*/ 0 w 3929759"/>
              <a:gd name="connsiteY5" fmla="*/ 2490701 h 3211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29759" h="3211366">
                <a:moveTo>
                  <a:pt x="0" y="2490701"/>
                </a:moveTo>
                <a:lnTo>
                  <a:pt x="2490700" y="0"/>
                </a:lnTo>
                <a:lnTo>
                  <a:pt x="2490700" y="2273"/>
                </a:lnTo>
                <a:lnTo>
                  <a:pt x="3929759" y="2273"/>
                </a:lnTo>
                <a:lnTo>
                  <a:pt x="720665" y="3211366"/>
                </a:lnTo>
                <a:lnTo>
                  <a:pt x="0" y="2490701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21" name="Freeform: Shape 120">
            <a:extLst>
              <a:ext uri="{FF2B5EF4-FFF2-40B4-BE49-F238E27FC236}">
                <a16:creationId xmlns:a16="http://schemas.microsoft.com/office/drawing/2014/main" id="{F07189EC-A1EB-4489-A845-C85F52144334}"/>
              </a:ext>
            </a:extLst>
          </p:cNvPr>
          <p:cNvSpPr/>
          <p:nvPr/>
        </p:nvSpPr>
        <p:spPr>
          <a:xfrm rot="2700000">
            <a:off x="9716422" y="2830856"/>
            <a:ext cx="1974222" cy="982001"/>
          </a:xfrm>
          <a:custGeom>
            <a:avLst/>
            <a:gdLst>
              <a:gd name="connsiteX0" fmla="*/ 1004865 w 2048959"/>
              <a:gd name="connsiteY0" fmla="*/ 12038 h 1019176"/>
              <a:gd name="connsiteX1" fmla="*/ 1016903 w 2048959"/>
              <a:gd name="connsiteY1" fmla="*/ 0 h 1019176"/>
              <a:gd name="connsiteX2" fmla="*/ 2048959 w 2048959"/>
              <a:gd name="connsiteY2" fmla="*/ 0 h 1019176"/>
              <a:gd name="connsiteX3" fmla="*/ 2048959 w 2048959"/>
              <a:gd name="connsiteY3" fmla="*/ 1019175 h 1019176"/>
              <a:gd name="connsiteX4" fmla="*/ 1439060 w 2048959"/>
              <a:gd name="connsiteY4" fmla="*/ 1019175 h 1019176"/>
              <a:gd name="connsiteX5" fmla="*/ 1725531 w 2048959"/>
              <a:gd name="connsiteY5" fmla="*/ 732703 h 1019176"/>
              <a:gd name="connsiteX6" fmla="*/ 0 w 2048959"/>
              <a:gd name="connsiteY6" fmla="*/ 1016903 h 1019176"/>
              <a:gd name="connsiteX7" fmla="*/ 1004864 w 2048959"/>
              <a:gd name="connsiteY7" fmla="*/ 12039 h 1019176"/>
              <a:gd name="connsiteX8" fmla="*/ 1725530 w 2048959"/>
              <a:gd name="connsiteY8" fmla="*/ 732704 h 1019176"/>
              <a:gd name="connsiteX9" fmla="*/ 1439059 w 2048959"/>
              <a:gd name="connsiteY9" fmla="*/ 1019176 h 1019176"/>
              <a:gd name="connsiteX10" fmla="*/ 0 w 2048959"/>
              <a:gd name="connsiteY10" fmla="*/ 1019176 h 1019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48959" h="1019176">
                <a:moveTo>
                  <a:pt x="1004865" y="12038"/>
                </a:moveTo>
                <a:lnTo>
                  <a:pt x="1016903" y="0"/>
                </a:lnTo>
                <a:lnTo>
                  <a:pt x="2048959" y="0"/>
                </a:lnTo>
                <a:lnTo>
                  <a:pt x="2048959" y="1019175"/>
                </a:lnTo>
                <a:lnTo>
                  <a:pt x="1439060" y="1019175"/>
                </a:lnTo>
                <a:lnTo>
                  <a:pt x="1725531" y="732703"/>
                </a:lnTo>
                <a:close/>
                <a:moveTo>
                  <a:pt x="0" y="1016903"/>
                </a:moveTo>
                <a:lnTo>
                  <a:pt x="1004864" y="12039"/>
                </a:lnTo>
                <a:lnTo>
                  <a:pt x="1725530" y="732704"/>
                </a:lnTo>
                <a:lnTo>
                  <a:pt x="1439059" y="1019176"/>
                </a:lnTo>
                <a:lnTo>
                  <a:pt x="0" y="1019176"/>
                </a:lnTo>
                <a:close/>
              </a:path>
            </a:pathLst>
          </a:custGeom>
          <a:solidFill>
            <a:srgbClr val="FF45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25" name="Freeform: Shape 124">
            <a:extLst>
              <a:ext uri="{FF2B5EF4-FFF2-40B4-BE49-F238E27FC236}">
                <a16:creationId xmlns:a16="http://schemas.microsoft.com/office/drawing/2014/main" id="{86681815-8B1C-41E6-A83A-CC6255623F47}"/>
              </a:ext>
            </a:extLst>
          </p:cNvPr>
          <p:cNvSpPr/>
          <p:nvPr/>
        </p:nvSpPr>
        <p:spPr>
          <a:xfrm rot="2700000">
            <a:off x="9716421" y="4368919"/>
            <a:ext cx="1974222" cy="982001"/>
          </a:xfrm>
          <a:custGeom>
            <a:avLst/>
            <a:gdLst>
              <a:gd name="connsiteX0" fmla="*/ 1004865 w 2048959"/>
              <a:gd name="connsiteY0" fmla="*/ 12038 h 1019176"/>
              <a:gd name="connsiteX1" fmla="*/ 1016903 w 2048959"/>
              <a:gd name="connsiteY1" fmla="*/ 0 h 1019176"/>
              <a:gd name="connsiteX2" fmla="*/ 2048959 w 2048959"/>
              <a:gd name="connsiteY2" fmla="*/ 0 h 1019176"/>
              <a:gd name="connsiteX3" fmla="*/ 2048959 w 2048959"/>
              <a:gd name="connsiteY3" fmla="*/ 1019175 h 1019176"/>
              <a:gd name="connsiteX4" fmla="*/ 1439060 w 2048959"/>
              <a:gd name="connsiteY4" fmla="*/ 1019175 h 1019176"/>
              <a:gd name="connsiteX5" fmla="*/ 1725531 w 2048959"/>
              <a:gd name="connsiteY5" fmla="*/ 732703 h 1019176"/>
              <a:gd name="connsiteX6" fmla="*/ 0 w 2048959"/>
              <a:gd name="connsiteY6" fmla="*/ 1016903 h 1019176"/>
              <a:gd name="connsiteX7" fmla="*/ 1004864 w 2048959"/>
              <a:gd name="connsiteY7" fmla="*/ 12039 h 1019176"/>
              <a:gd name="connsiteX8" fmla="*/ 1725530 w 2048959"/>
              <a:gd name="connsiteY8" fmla="*/ 732704 h 1019176"/>
              <a:gd name="connsiteX9" fmla="*/ 1439059 w 2048959"/>
              <a:gd name="connsiteY9" fmla="*/ 1019176 h 1019176"/>
              <a:gd name="connsiteX10" fmla="*/ 0 w 2048959"/>
              <a:gd name="connsiteY10" fmla="*/ 1019176 h 1019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48959" h="1019176">
                <a:moveTo>
                  <a:pt x="1004865" y="12038"/>
                </a:moveTo>
                <a:lnTo>
                  <a:pt x="1016903" y="0"/>
                </a:lnTo>
                <a:lnTo>
                  <a:pt x="2048959" y="0"/>
                </a:lnTo>
                <a:lnTo>
                  <a:pt x="2048959" y="1019175"/>
                </a:lnTo>
                <a:lnTo>
                  <a:pt x="1439060" y="1019175"/>
                </a:lnTo>
                <a:lnTo>
                  <a:pt x="1725531" y="732703"/>
                </a:lnTo>
                <a:close/>
                <a:moveTo>
                  <a:pt x="0" y="1016903"/>
                </a:moveTo>
                <a:lnTo>
                  <a:pt x="1004864" y="12039"/>
                </a:lnTo>
                <a:lnTo>
                  <a:pt x="1725530" y="732704"/>
                </a:lnTo>
                <a:lnTo>
                  <a:pt x="1439059" y="1019176"/>
                </a:lnTo>
                <a:lnTo>
                  <a:pt x="0" y="1019176"/>
                </a:lnTo>
                <a:close/>
              </a:path>
            </a:pathLst>
          </a:custGeom>
          <a:solidFill>
            <a:srgbClr val="0941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26" name="Freeform: Shape 125">
            <a:extLst>
              <a:ext uri="{FF2B5EF4-FFF2-40B4-BE49-F238E27FC236}">
                <a16:creationId xmlns:a16="http://schemas.microsoft.com/office/drawing/2014/main" id="{5996EC33-DECA-49DD-B1DC-43D613775ABD}"/>
              </a:ext>
            </a:extLst>
          </p:cNvPr>
          <p:cNvSpPr/>
          <p:nvPr/>
        </p:nvSpPr>
        <p:spPr>
          <a:xfrm rot="2700000">
            <a:off x="6314464" y="3696178"/>
            <a:ext cx="3786419" cy="3094230"/>
          </a:xfrm>
          <a:custGeom>
            <a:avLst/>
            <a:gdLst>
              <a:gd name="connsiteX0" fmla="*/ 0 w 3929759"/>
              <a:gd name="connsiteY0" fmla="*/ 2490701 h 3211366"/>
              <a:gd name="connsiteX1" fmla="*/ 2490700 w 3929759"/>
              <a:gd name="connsiteY1" fmla="*/ 0 h 3211366"/>
              <a:gd name="connsiteX2" fmla="*/ 2490700 w 3929759"/>
              <a:gd name="connsiteY2" fmla="*/ 2273 h 3211366"/>
              <a:gd name="connsiteX3" fmla="*/ 3929759 w 3929759"/>
              <a:gd name="connsiteY3" fmla="*/ 2273 h 3211366"/>
              <a:gd name="connsiteX4" fmla="*/ 720665 w 3929759"/>
              <a:gd name="connsiteY4" fmla="*/ 3211366 h 3211366"/>
              <a:gd name="connsiteX5" fmla="*/ 0 w 3929759"/>
              <a:gd name="connsiteY5" fmla="*/ 2490701 h 3211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29759" h="3211366">
                <a:moveTo>
                  <a:pt x="0" y="2490701"/>
                </a:moveTo>
                <a:lnTo>
                  <a:pt x="2490700" y="0"/>
                </a:lnTo>
                <a:lnTo>
                  <a:pt x="2490700" y="2273"/>
                </a:lnTo>
                <a:lnTo>
                  <a:pt x="3929759" y="2273"/>
                </a:lnTo>
                <a:lnTo>
                  <a:pt x="720665" y="3211366"/>
                </a:lnTo>
                <a:lnTo>
                  <a:pt x="0" y="2490701"/>
                </a:lnTo>
                <a:close/>
              </a:path>
            </a:pathLst>
          </a:custGeom>
          <a:solidFill>
            <a:srgbClr val="094156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32C9695-0410-49DF-A985-56ACEF2A4F1F}"/>
              </a:ext>
            </a:extLst>
          </p:cNvPr>
          <p:cNvSpPr/>
          <p:nvPr/>
        </p:nvSpPr>
        <p:spPr>
          <a:xfrm>
            <a:off x="605641" y="1431130"/>
            <a:ext cx="124459" cy="983457"/>
          </a:xfrm>
          <a:prstGeom prst="rect">
            <a:avLst/>
          </a:prstGeom>
          <a:solidFill>
            <a:srgbClr val="5FB9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249FDEE6-F482-47B4-855A-ECAF74A779C9}"/>
              </a:ext>
            </a:extLst>
          </p:cNvPr>
          <p:cNvSpPr/>
          <p:nvPr/>
        </p:nvSpPr>
        <p:spPr>
          <a:xfrm>
            <a:off x="7033645" y="2991700"/>
            <a:ext cx="2931163" cy="9233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Replicate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 current activities/programs/units of study that </a:t>
            </a:r>
            <a:r>
              <a:rPr lang="en-US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enrich, expose, and equip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students with </a:t>
            </a:r>
            <a:r>
              <a:rPr lang="en-US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career readiness or employability skills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?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ABFB4013-DEAE-49B4-B56E-D5301DC469F4}"/>
              </a:ext>
            </a:extLst>
          </p:cNvPr>
          <p:cNvSpPr/>
          <p:nvPr/>
        </p:nvSpPr>
        <p:spPr>
          <a:xfrm>
            <a:off x="605641" y="2969193"/>
            <a:ext cx="124459" cy="983457"/>
          </a:xfrm>
          <a:prstGeom prst="rect">
            <a:avLst/>
          </a:prstGeom>
          <a:solidFill>
            <a:srgbClr val="FF45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FB54AF58-4BD3-4798-812E-2C3661682145}"/>
              </a:ext>
            </a:extLst>
          </p:cNvPr>
          <p:cNvSpPr/>
          <p:nvPr/>
        </p:nvSpPr>
        <p:spPr>
          <a:xfrm>
            <a:off x="7134833" y="1746598"/>
            <a:ext cx="2612219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Duplicate instruction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provided during the school day? 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06021151-E167-417F-BB7C-C9E3D027C9A7}"/>
              </a:ext>
            </a:extLst>
          </p:cNvPr>
          <p:cNvSpPr/>
          <p:nvPr/>
        </p:nvSpPr>
        <p:spPr>
          <a:xfrm>
            <a:off x="605641" y="4503586"/>
            <a:ext cx="124459" cy="983457"/>
          </a:xfrm>
          <a:prstGeom prst="rect">
            <a:avLst/>
          </a:prstGeom>
          <a:solidFill>
            <a:srgbClr val="0941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7583893D-9467-4831-A228-4C3229297F59}"/>
              </a:ext>
            </a:extLst>
          </p:cNvPr>
          <p:cNvSpPr/>
          <p:nvPr/>
        </p:nvSpPr>
        <p:spPr>
          <a:xfrm>
            <a:off x="1396442" y="1563678"/>
            <a:ext cx="2838281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Provide </a:t>
            </a:r>
            <a:r>
              <a:rPr lang="en-US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new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OR </a:t>
            </a:r>
            <a:r>
              <a:rPr lang="en-US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extend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  </a:t>
            </a:r>
            <a:r>
              <a:rPr lang="en-US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learning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 outside of the traditional school day, in the community, state, or other locations?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075C06D6-311A-4160-8051-4CC8A99BB398}"/>
              </a:ext>
            </a:extLst>
          </p:cNvPr>
          <p:cNvSpPr/>
          <p:nvPr/>
        </p:nvSpPr>
        <p:spPr>
          <a:xfrm>
            <a:off x="6211901" y="1431130"/>
            <a:ext cx="124459" cy="983457"/>
          </a:xfrm>
          <a:prstGeom prst="rect">
            <a:avLst/>
          </a:prstGeom>
          <a:solidFill>
            <a:srgbClr val="5FB9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6BE2C896-E080-4321-A8A2-6F1683D8DAE5}"/>
              </a:ext>
            </a:extLst>
          </p:cNvPr>
          <p:cNvSpPr/>
          <p:nvPr/>
        </p:nvSpPr>
        <p:spPr>
          <a:xfrm>
            <a:off x="1406619" y="4639537"/>
            <a:ext cx="2650946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Align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to </a:t>
            </a:r>
            <a:r>
              <a:rPr lang="en-US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standards, skills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, or other </a:t>
            </a:r>
            <a:r>
              <a:rPr lang="en-US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identified outcomes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that </a:t>
            </a:r>
            <a:r>
              <a:rPr lang="en-US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expose or equip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students for college/career readiness?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6F39459B-8D42-440F-9CC4-F1DBB50B0FAC}"/>
              </a:ext>
            </a:extLst>
          </p:cNvPr>
          <p:cNvSpPr/>
          <p:nvPr/>
        </p:nvSpPr>
        <p:spPr>
          <a:xfrm>
            <a:off x="6267626" y="2969193"/>
            <a:ext cx="124459" cy="983457"/>
          </a:xfrm>
          <a:prstGeom prst="rect">
            <a:avLst/>
          </a:prstGeom>
          <a:solidFill>
            <a:srgbClr val="FF45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3E24D619-B52A-4FCB-9E8F-846BB4452CEB}"/>
              </a:ext>
            </a:extLst>
          </p:cNvPr>
          <p:cNvSpPr/>
          <p:nvPr/>
        </p:nvSpPr>
        <p:spPr>
          <a:xfrm>
            <a:off x="1378959" y="3090436"/>
            <a:ext cx="2828701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Meet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a set of </a:t>
            </a:r>
            <a:r>
              <a:rPr lang="en-US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criteria to indicate quality 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and have </a:t>
            </a:r>
            <a:r>
              <a:rPr lang="en-US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performance measurement tools/processes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 to measure student mastery? 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9AA30A72-D992-4D53-A799-6A85DFC2E345}"/>
              </a:ext>
            </a:extLst>
          </p:cNvPr>
          <p:cNvSpPr/>
          <p:nvPr/>
        </p:nvSpPr>
        <p:spPr>
          <a:xfrm>
            <a:off x="6267626" y="4503586"/>
            <a:ext cx="124459" cy="983457"/>
          </a:xfrm>
          <a:prstGeom prst="rect">
            <a:avLst/>
          </a:prstGeom>
          <a:solidFill>
            <a:srgbClr val="0941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71177753-B5B9-408F-8098-DC5358436441}"/>
              </a:ext>
            </a:extLst>
          </p:cNvPr>
          <p:cNvSpPr/>
          <p:nvPr/>
        </p:nvSpPr>
        <p:spPr>
          <a:xfrm>
            <a:off x="837247" y="1707417"/>
            <a:ext cx="491491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01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DD6E003E-6D95-423B-81AD-EF66CDFC6B78}"/>
              </a:ext>
            </a:extLst>
          </p:cNvPr>
          <p:cNvSpPr/>
          <p:nvPr/>
        </p:nvSpPr>
        <p:spPr>
          <a:xfrm>
            <a:off x="837247" y="3214700"/>
            <a:ext cx="491491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02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623291F1-83B9-4DA2-BD77-6E38F15F6379}"/>
              </a:ext>
            </a:extLst>
          </p:cNvPr>
          <p:cNvSpPr/>
          <p:nvPr/>
        </p:nvSpPr>
        <p:spPr>
          <a:xfrm>
            <a:off x="837247" y="4779871"/>
            <a:ext cx="491491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03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2CA1659-76EA-40B5-9C07-876A979FB819}"/>
              </a:ext>
            </a:extLst>
          </p:cNvPr>
          <p:cNvSpPr/>
          <p:nvPr/>
        </p:nvSpPr>
        <p:spPr>
          <a:xfrm>
            <a:off x="6504007" y="1707417"/>
            <a:ext cx="491491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04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E0678BC5-C342-437B-8367-E476B4A1622A}"/>
              </a:ext>
            </a:extLst>
          </p:cNvPr>
          <p:cNvSpPr/>
          <p:nvPr/>
        </p:nvSpPr>
        <p:spPr>
          <a:xfrm>
            <a:off x="6504007" y="3214700"/>
            <a:ext cx="491491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05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54D68BD7-FA44-4278-B47E-F2C927BFD303}"/>
              </a:ext>
            </a:extLst>
          </p:cNvPr>
          <p:cNvSpPr/>
          <p:nvPr/>
        </p:nvSpPr>
        <p:spPr>
          <a:xfrm>
            <a:off x="6504007" y="4779871"/>
            <a:ext cx="491491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06</a:t>
            </a:r>
          </a:p>
        </p:txBody>
      </p:sp>
      <p:sp>
        <p:nvSpPr>
          <p:cNvPr id="151" name="Freeform 1671">
            <a:extLst>
              <a:ext uri="{FF2B5EF4-FFF2-40B4-BE49-F238E27FC236}">
                <a16:creationId xmlns:a16="http://schemas.microsoft.com/office/drawing/2014/main" id="{5A1AF5DB-BDB8-43D3-90DB-A586725BB30D}"/>
              </a:ext>
            </a:extLst>
          </p:cNvPr>
          <p:cNvSpPr>
            <a:spLocks noEditPoints="1"/>
          </p:cNvSpPr>
          <p:nvPr/>
        </p:nvSpPr>
        <p:spPr bwMode="auto">
          <a:xfrm>
            <a:off x="5169100" y="1815109"/>
            <a:ext cx="418367" cy="418367"/>
          </a:xfrm>
          <a:custGeom>
            <a:avLst/>
            <a:gdLst>
              <a:gd name="T0" fmla="*/ 279 w 719"/>
              <a:gd name="T1" fmla="*/ 477 h 719"/>
              <a:gd name="T2" fmla="*/ 197 w 719"/>
              <a:gd name="T3" fmla="*/ 387 h 719"/>
              <a:gd name="T4" fmla="*/ 217 w 719"/>
              <a:gd name="T5" fmla="*/ 382 h 719"/>
              <a:gd name="T6" fmla="*/ 515 w 719"/>
              <a:gd name="T7" fmla="*/ 243 h 719"/>
              <a:gd name="T8" fmla="*/ 519 w 719"/>
              <a:gd name="T9" fmla="*/ 263 h 719"/>
              <a:gd name="T10" fmla="*/ 709 w 719"/>
              <a:gd name="T11" fmla="*/ 323 h 719"/>
              <a:gd name="T12" fmla="*/ 687 w 719"/>
              <a:gd name="T13" fmla="*/ 289 h 719"/>
              <a:gd name="T14" fmla="*/ 696 w 719"/>
              <a:gd name="T15" fmla="*/ 243 h 719"/>
              <a:gd name="T16" fmla="*/ 675 w 719"/>
              <a:gd name="T17" fmla="*/ 199 h 719"/>
              <a:gd name="T18" fmla="*/ 631 w 719"/>
              <a:gd name="T19" fmla="*/ 179 h 719"/>
              <a:gd name="T20" fmla="*/ 630 w 719"/>
              <a:gd name="T21" fmla="*/ 131 h 719"/>
              <a:gd name="T22" fmla="*/ 603 w 719"/>
              <a:gd name="T23" fmla="*/ 98 h 719"/>
              <a:gd name="T24" fmla="*/ 569 w 719"/>
              <a:gd name="T25" fmla="*/ 87 h 719"/>
              <a:gd name="T26" fmla="*/ 536 w 719"/>
              <a:gd name="T27" fmla="*/ 70 h 719"/>
              <a:gd name="T28" fmla="*/ 507 w 719"/>
              <a:gd name="T29" fmla="*/ 34 h 719"/>
              <a:gd name="T30" fmla="*/ 458 w 719"/>
              <a:gd name="T31" fmla="*/ 25 h 719"/>
              <a:gd name="T32" fmla="*/ 418 w 719"/>
              <a:gd name="T33" fmla="*/ 31 h 719"/>
              <a:gd name="T34" fmla="*/ 380 w 719"/>
              <a:gd name="T35" fmla="*/ 4 h 719"/>
              <a:gd name="T36" fmla="*/ 331 w 719"/>
              <a:gd name="T37" fmla="*/ 7 h 719"/>
              <a:gd name="T38" fmla="*/ 296 w 719"/>
              <a:gd name="T39" fmla="*/ 39 h 719"/>
              <a:gd name="T40" fmla="*/ 251 w 719"/>
              <a:gd name="T41" fmla="*/ 24 h 719"/>
              <a:gd name="T42" fmla="*/ 205 w 719"/>
              <a:gd name="T43" fmla="*/ 39 h 719"/>
              <a:gd name="T44" fmla="*/ 180 w 719"/>
              <a:gd name="T45" fmla="*/ 79 h 719"/>
              <a:gd name="T46" fmla="*/ 142 w 719"/>
              <a:gd name="T47" fmla="*/ 88 h 719"/>
              <a:gd name="T48" fmla="*/ 111 w 719"/>
              <a:gd name="T49" fmla="*/ 102 h 719"/>
              <a:gd name="T50" fmla="*/ 86 w 719"/>
              <a:gd name="T51" fmla="*/ 141 h 719"/>
              <a:gd name="T52" fmla="*/ 78 w 719"/>
              <a:gd name="T53" fmla="*/ 180 h 719"/>
              <a:gd name="T54" fmla="*/ 37 w 719"/>
              <a:gd name="T55" fmla="*/ 207 h 719"/>
              <a:gd name="T56" fmla="*/ 22 w 719"/>
              <a:gd name="T57" fmla="*/ 252 h 719"/>
              <a:gd name="T58" fmla="*/ 38 w 719"/>
              <a:gd name="T59" fmla="*/ 296 h 719"/>
              <a:gd name="T60" fmla="*/ 6 w 719"/>
              <a:gd name="T61" fmla="*/ 332 h 719"/>
              <a:gd name="T62" fmla="*/ 3 w 719"/>
              <a:gd name="T63" fmla="*/ 380 h 719"/>
              <a:gd name="T64" fmla="*/ 31 w 719"/>
              <a:gd name="T65" fmla="*/ 420 h 719"/>
              <a:gd name="T66" fmla="*/ 23 w 719"/>
              <a:gd name="T67" fmla="*/ 460 h 719"/>
              <a:gd name="T68" fmla="*/ 32 w 719"/>
              <a:gd name="T69" fmla="*/ 507 h 719"/>
              <a:gd name="T70" fmla="*/ 68 w 719"/>
              <a:gd name="T71" fmla="*/ 538 h 719"/>
              <a:gd name="T72" fmla="*/ 85 w 719"/>
              <a:gd name="T73" fmla="*/ 571 h 719"/>
              <a:gd name="T74" fmla="*/ 106 w 719"/>
              <a:gd name="T75" fmla="*/ 615 h 719"/>
              <a:gd name="T76" fmla="*/ 135 w 719"/>
              <a:gd name="T77" fmla="*/ 633 h 719"/>
              <a:gd name="T78" fmla="*/ 177 w 719"/>
              <a:gd name="T79" fmla="*/ 633 h 719"/>
              <a:gd name="T80" fmla="*/ 197 w 719"/>
              <a:gd name="T81" fmla="*/ 676 h 719"/>
              <a:gd name="T82" fmla="*/ 242 w 719"/>
              <a:gd name="T83" fmla="*/ 698 h 719"/>
              <a:gd name="T84" fmla="*/ 288 w 719"/>
              <a:gd name="T85" fmla="*/ 687 h 719"/>
              <a:gd name="T86" fmla="*/ 322 w 719"/>
              <a:gd name="T87" fmla="*/ 709 h 719"/>
              <a:gd name="T88" fmla="*/ 370 w 719"/>
              <a:gd name="T89" fmla="*/ 719 h 719"/>
              <a:gd name="T90" fmla="*/ 412 w 719"/>
              <a:gd name="T91" fmla="*/ 697 h 719"/>
              <a:gd name="T92" fmla="*/ 449 w 719"/>
              <a:gd name="T93" fmla="*/ 695 h 719"/>
              <a:gd name="T94" fmla="*/ 497 w 719"/>
              <a:gd name="T95" fmla="*/ 693 h 719"/>
              <a:gd name="T96" fmla="*/ 533 w 719"/>
              <a:gd name="T97" fmla="*/ 661 h 719"/>
              <a:gd name="T98" fmla="*/ 563 w 719"/>
              <a:gd name="T99" fmla="*/ 635 h 719"/>
              <a:gd name="T100" fmla="*/ 597 w 719"/>
              <a:gd name="T101" fmla="*/ 628 h 719"/>
              <a:gd name="T102" fmla="*/ 626 w 719"/>
              <a:gd name="T103" fmla="*/ 599 h 719"/>
              <a:gd name="T104" fmla="*/ 634 w 719"/>
              <a:gd name="T105" fmla="*/ 551 h 719"/>
              <a:gd name="T106" fmla="*/ 668 w 719"/>
              <a:gd name="T107" fmla="*/ 528 h 719"/>
              <a:gd name="T108" fmla="*/ 694 w 719"/>
              <a:gd name="T109" fmla="*/ 488 h 719"/>
              <a:gd name="T110" fmla="*/ 691 w 719"/>
              <a:gd name="T111" fmla="*/ 441 h 719"/>
              <a:gd name="T112" fmla="*/ 703 w 719"/>
              <a:gd name="T113" fmla="*/ 406 h 719"/>
              <a:gd name="T114" fmla="*/ 719 w 719"/>
              <a:gd name="T115" fmla="*/ 36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8" y="477"/>
                </a:lnTo>
                <a:lnTo>
                  <a:pt x="285" y="479"/>
                </a:lnTo>
                <a:lnTo>
                  <a:pt x="279" y="477"/>
                </a:lnTo>
                <a:lnTo>
                  <a:pt x="276" y="475"/>
                </a:lnTo>
                <a:lnTo>
                  <a:pt x="200" y="400"/>
                </a:lnTo>
                <a:lnTo>
                  <a:pt x="197" y="396"/>
                </a:lnTo>
                <a:lnTo>
                  <a:pt x="196" y="391"/>
                </a:lnTo>
                <a:lnTo>
                  <a:pt x="197" y="387"/>
                </a:lnTo>
                <a:lnTo>
                  <a:pt x="200" y="382"/>
                </a:lnTo>
                <a:lnTo>
                  <a:pt x="204" y="380"/>
                </a:lnTo>
                <a:lnTo>
                  <a:pt x="208" y="379"/>
                </a:lnTo>
                <a:lnTo>
                  <a:pt x="213" y="380"/>
                </a:lnTo>
                <a:lnTo>
                  <a:pt x="217" y="382"/>
                </a:lnTo>
                <a:lnTo>
                  <a:pt x="285" y="450"/>
                </a:lnTo>
                <a:lnTo>
                  <a:pt x="502" y="247"/>
                </a:lnTo>
                <a:lnTo>
                  <a:pt x="507" y="243"/>
                </a:lnTo>
                <a:lnTo>
                  <a:pt x="511" y="243"/>
                </a:lnTo>
                <a:lnTo>
                  <a:pt x="515" y="243"/>
                </a:lnTo>
                <a:lnTo>
                  <a:pt x="520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19" y="360"/>
                </a:moveTo>
                <a:lnTo>
                  <a:pt x="719" y="350"/>
                </a:lnTo>
                <a:lnTo>
                  <a:pt x="716" y="341"/>
                </a:lnTo>
                <a:lnTo>
                  <a:pt x="713" y="332"/>
                </a:lnTo>
                <a:lnTo>
                  <a:pt x="709" y="323"/>
                </a:lnTo>
                <a:lnTo>
                  <a:pt x="703" y="315"/>
                </a:lnTo>
                <a:lnTo>
                  <a:pt x="696" y="308"/>
                </a:lnTo>
                <a:lnTo>
                  <a:pt x="689" y="302"/>
                </a:lnTo>
                <a:lnTo>
                  <a:pt x="681" y="296"/>
                </a:lnTo>
                <a:lnTo>
                  <a:pt x="687" y="289"/>
                </a:lnTo>
                <a:lnTo>
                  <a:pt x="691" y="280"/>
                </a:lnTo>
                <a:lnTo>
                  <a:pt x="694" y="271"/>
                </a:lnTo>
                <a:lnTo>
                  <a:pt x="696" y="262"/>
                </a:lnTo>
                <a:lnTo>
                  <a:pt x="696" y="252"/>
                </a:lnTo>
                <a:lnTo>
                  <a:pt x="696" y="243"/>
                </a:lnTo>
                <a:lnTo>
                  <a:pt x="694" y="233"/>
                </a:lnTo>
                <a:lnTo>
                  <a:pt x="692" y="223"/>
                </a:lnTo>
                <a:lnTo>
                  <a:pt x="688" y="215"/>
                </a:lnTo>
                <a:lnTo>
                  <a:pt x="682" y="207"/>
                </a:lnTo>
                <a:lnTo>
                  <a:pt x="675" y="199"/>
                </a:lnTo>
                <a:lnTo>
                  <a:pt x="668" y="193"/>
                </a:lnTo>
                <a:lnTo>
                  <a:pt x="660" y="188"/>
                </a:lnTo>
                <a:lnTo>
                  <a:pt x="651" y="184"/>
                </a:lnTo>
                <a:lnTo>
                  <a:pt x="641" y="180"/>
                </a:lnTo>
                <a:lnTo>
                  <a:pt x="631" y="179"/>
                </a:lnTo>
                <a:lnTo>
                  <a:pt x="634" y="169"/>
                </a:lnTo>
                <a:lnTo>
                  <a:pt x="635" y="161"/>
                </a:lnTo>
                <a:lnTo>
                  <a:pt x="635" y="151"/>
                </a:lnTo>
                <a:lnTo>
                  <a:pt x="632" y="141"/>
                </a:lnTo>
                <a:lnTo>
                  <a:pt x="630" y="131"/>
                </a:lnTo>
                <a:lnTo>
                  <a:pt x="626" y="122"/>
                </a:lnTo>
                <a:lnTo>
                  <a:pt x="620" y="114"/>
                </a:lnTo>
                <a:lnTo>
                  <a:pt x="614" y="106"/>
                </a:lnTo>
                <a:lnTo>
                  <a:pt x="608" y="102"/>
                </a:lnTo>
                <a:lnTo>
                  <a:pt x="603" y="98"/>
                </a:lnTo>
                <a:lnTo>
                  <a:pt x="597" y="94"/>
                </a:lnTo>
                <a:lnTo>
                  <a:pt x="590" y="91"/>
                </a:lnTo>
                <a:lnTo>
                  <a:pt x="584" y="89"/>
                </a:lnTo>
                <a:lnTo>
                  <a:pt x="577" y="88"/>
                </a:lnTo>
                <a:lnTo>
                  <a:pt x="569" y="87"/>
                </a:lnTo>
                <a:lnTo>
                  <a:pt x="563" y="85"/>
                </a:lnTo>
                <a:lnTo>
                  <a:pt x="552" y="87"/>
                </a:lnTo>
                <a:lnTo>
                  <a:pt x="542" y="89"/>
                </a:lnTo>
                <a:lnTo>
                  <a:pt x="540" y="79"/>
                </a:lnTo>
                <a:lnTo>
                  <a:pt x="536" y="70"/>
                </a:lnTo>
                <a:lnTo>
                  <a:pt x="533" y="61"/>
                </a:lnTo>
                <a:lnTo>
                  <a:pt x="528" y="53"/>
                </a:lnTo>
                <a:lnTo>
                  <a:pt x="522" y="46"/>
                </a:lnTo>
                <a:lnTo>
                  <a:pt x="514" y="39"/>
                </a:lnTo>
                <a:lnTo>
                  <a:pt x="507" y="34"/>
                </a:lnTo>
                <a:lnTo>
                  <a:pt x="497" y="28"/>
                </a:lnTo>
                <a:lnTo>
                  <a:pt x="488" y="26"/>
                </a:lnTo>
                <a:lnTo>
                  <a:pt x="478" y="24"/>
                </a:lnTo>
                <a:lnTo>
                  <a:pt x="468" y="24"/>
                </a:lnTo>
                <a:lnTo>
                  <a:pt x="458" y="25"/>
                </a:lnTo>
                <a:lnTo>
                  <a:pt x="449" y="27"/>
                </a:lnTo>
                <a:lnTo>
                  <a:pt x="440" y="29"/>
                </a:lnTo>
                <a:lnTo>
                  <a:pt x="431" y="34"/>
                </a:lnTo>
                <a:lnTo>
                  <a:pt x="424" y="39"/>
                </a:lnTo>
                <a:lnTo>
                  <a:pt x="418" y="31"/>
                </a:lnTo>
                <a:lnTo>
                  <a:pt x="412" y="24"/>
                </a:lnTo>
                <a:lnTo>
                  <a:pt x="405" y="17"/>
                </a:lnTo>
                <a:lnTo>
                  <a:pt x="397" y="11"/>
                </a:lnTo>
                <a:lnTo>
                  <a:pt x="388" y="7"/>
                </a:lnTo>
                <a:lnTo>
                  <a:pt x="380" y="4"/>
                </a:lnTo>
                <a:lnTo>
                  <a:pt x="370" y="2"/>
                </a:lnTo>
                <a:lnTo>
                  <a:pt x="360" y="0"/>
                </a:lnTo>
                <a:lnTo>
                  <a:pt x="350" y="2"/>
                </a:lnTo>
                <a:lnTo>
                  <a:pt x="340" y="4"/>
                </a:lnTo>
                <a:lnTo>
                  <a:pt x="331" y="7"/>
                </a:lnTo>
                <a:lnTo>
                  <a:pt x="322" y="11"/>
                </a:lnTo>
                <a:lnTo>
                  <a:pt x="314" y="17"/>
                </a:lnTo>
                <a:lnTo>
                  <a:pt x="307" y="24"/>
                </a:lnTo>
                <a:lnTo>
                  <a:pt x="301" y="31"/>
                </a:lnTo>
                <a:lnTo>
                  <a:pt x="296" y="39"/>
                </a:lnTo>
                <a:lnTo>
                  <a:pt x="288" y="34"/>
                </a:lnTo>
                <a:lnTo>
                  <a:pt x="279" y="29"/>
                </a:lnTo>
                <a:lnTo>
                  <a:pt x="270" y="27"/>
                </a:lnTo>
                <a:lnTo>
                  <a:pt x="260" y="25"/>
                </a:lnTo>
                <a:lnTo>
                  <a:pt x="251" y="24"/>
                </a:lnTo>
                <a:lnTo>
                  <a:pt x="242" y="24"/>
                </a:lnTo>
                <a:lnTo>
                  <a:pt x="232" y="26"/>
                </a:lnTo>
                <a:lnTo>
                  <a:pt x="222" y="28"/>
                </a:lnTo>
                <a:lnTo>
                  <a:pt x="213" y="34"/>
                </a:lnTo>
                <a:lnTo>
                  <a:pt x="205" y="39"/>
                </a:lnTo>
                <a:lnTo>
                  <a:pt x="197" y="46"/>
                </a:lnTo>
                <a:lnTo>
                  <a:pt x="192" y="52"/>
                </a:lnTo>
                <a:lnTo>
                  <a:pt x="186" y="61"/>
                </a:lnTo>
                <a:lnTo>
                  <a:pt x="182" y="69"/>
                </a:lnTo>
                <a:lnTo>
                  <a:pt x="180" y="79"/>
                </a:lnTo>
                <a:lnTo>
                  <a:pt x="177" y="89"/>
                </a:lnTo>
                <a:lnTo>
                  <a:pt x="168" y="87"/>
                </a:lnTo>
                <a:lnTo>
                  <a:pt x="156" y="85"/>
                </a:lnTo>
                <a:lnTo>
                  <a:pt x="149" y="87"/>
                </a:lnTo>
                <a:lnTo>
                  <a:pt x="142" y="88"/>
                </a:lnTo>
                <a:lnTo>
                  <a:pt x="135" y="89"/>
                </a:lnTo>
                <a:lnTo>
                  <a:pt x="129" y="91"/>
                </a:lnTo>
                <a:lnTo>
                  <a:pt x="122" y="94"/>
                </a:lnTo>
                <a:lnTo>
                  <a:pt x="117" y="98"/>
                </a:lnTo>
                <a:lnTo>
                  <a:pt x="111" y="102"/>
                </a:lnTo>
                <a:lnTo>
                  <a:pt x="106" y="106"/>
                </a:lnTo>
                <a:lnTo>
                  <a:pt x="99" y="114"/>
                </a:lnTo>
                <a:lnTo>
                  <a:pt x="94" y="122"/>
                </a:lnTo>
                <a:lnTo>
                  <a:pt x="89" y="131"/>
                </a:lnTo>
                <a:lnTo>
                  <a:pt x="86" y="141"/>
                </a:lnTo>
                <a:lnTo>
                  <a:pt x="85" y="151"/>
                </a:lnTo>
                <a:lnTo>
                  <a:pt x="85" y="161"/>
                </a:lnTo>
                <a:lnTo>
                  <a:pt x="85" y="169"/>
                </a:lnTo>
                <a:lnTo>
                  <a:pt x="87" y="179"/>
                </a:lnTo>
                <a:lnTo>
                  <a:pt x="78" y="180"/>
                </a:lnTo>
                <a:lnTo>
                  <a:pt x="68" y="184"/>
                </a:lnTo>
                <a:lnTo>
                  <a:pt x="59" y="188"/>
                </a:lnTo>
                <a:lnTo>
                  <a:pt x="52" y="193"/>
                </a:lnTo>
                <a:lnTo>
                  <a:pt x="44" y="199"/>
                </a:lnTo>
                <a:lnTo>
                  <a:pt x="37" y="207"/>
                </a:lnTo>
                <a:lnTo>
                  <a:pt x="32" y="215"/>
                </a:lnTo>
                <a:lnTo>
                  <a:pt x="27" y="223"/>
                </a:lnTo>
                <a:lnTo>
                  <a:pt x="24" y="233"/>
                </a:lnTo>
                <a:lnTo>
                  <a:pt x="23" y="243"/>
                </a:lnTo>
                <a:lnTo>
                  <a:pt x="22" y="252"/>
                </a:lnTo>
                <a:lnTo>
                  <a:pt x="23" y="262"/>
                </a:lnTo>
                <a:lnTo>
                  <a:pt x="25" y="271"/>
                </a:lnTo>
                <a:lnTo>
                  <a:pt x="28" y="280"/>
                </a:lnTo>
                <a:lnTo>
                  <a:pt x="33" y="289"/>
                </a:lnTo>
                <a:lnTo>
                  <a:pt x="38" y="296"/>
                </a:lnTo>
                <a:lnTo>
                  <a:pt x="31" y="302"/>
                </a:lnTo>
                <a:lnTo>
                  <a:pt x="23" y="308"/>
                </a:lnTo>
                <a:lnTo>
                  <a:pt x="16" y="315"/>
                </a:lnTo>
                <a:lnTo>
                  <a:pt x="11" y="323"/>
                </a:lnTo>
                <a:lnTo>
                  <a:pt x="6" y="332"/>
                </a:lnTo>
                <a:lnTo>
                  <a:pt x="3" y="341"/>
                </a:lnTo>
                <a:lnTo>
                  <a:pt x="1" y="350"/>
                </a:lnTo>
                <a:lnTo>
                  <a:pt x="0" y="360"/>
                </a:lnTo>
                <a:lnTo>
                  <a:pt x="1" y="370"/>
                </a:lnTo>
                <a:lnTo>
                  <a:pt x="3" y="380"/>
                </a:lnTo>
                <a:lnTo>
                  <a:pt x="6" y="389"/>
                </a:lnTo>
                <a:lnTo>
                  <a:pt x="11" y="398"/>
                </a:lnTo>
                <a:lnTo>
                  <a:pt x="16" y="406"/>
                </a:lnTo>
                <a:lnTo>
                  <a:pt x="23" y="413"/>
                </a:lnTo>
                <a:lnTo>
                  <a:pt x="31" y="420"/>
                </a:lnTo>
                <a:lnTo>
                  <a:pt x="38" y="424"/>
                </a:lnTo>
                <a:lnTo>
                  <a:pt x="33" y="433"/>
                </a:lnTo>
                <a:lnTo>
                  <a:pt x="28" y="441"/>
                </a:lnTo>
                <a:lnTo>
                  <a:pt x="25" y="450"/>
                </a:lnTo>
                <a:lnTo>
                  <a:pt x="23" y="460"/>
                </a:lnTo>
                <a:lnTo>
                  <a:pt x="22" y="470"/>
                </a:lnTo>
                <a:lnTo>
                  <a:pt x="23" y="479"/>
                </a:lnTo>
                <a:lnTo>
                  <a:pt x="24" y="488"/>
                </a:lnTo>
                <a:lnTo>
                  <a:pt x="27" y="498"/>
                </a:lnTo>
                <a:lnTo>
                  <a:pt x="32" y="507"/>
                </a:lnTo>
                <a:lnTo>
                  <a:pt x="37" y="515"/>
                </a:lnTo>
                <a:lnTo>
                  <a:pt x="44" y="523"/>
                </a:lnTo>
                <a:lnTo>
                  <a:pt x="52" y="528"/>
                </a:lnTo>
                <a:lnTo>
                  <a:pt x="59" y="534"/>
                </a:lnTo>
                <a:lnTo>
                  <a:pt x="68" y="538"/>
                </a:lnTo>
                <a:lnTo>
                  <a:pt x="78" y="540"/>
                </a:lnTo>
                <a:lnTo>
                  <a:pt x="87" y="543"/>
                </a:lnTo>
                <a:lnTo>
                  <a:pt x="85" y="551"/>
                </a:lnTo>
                <a:lnTo>
                  <a:pt x="85" y="561"/>
                </a:lnTo>
                <a:lnTo>
                  <a:pt x="85" y="571"/>
                </a:lnTo>
                <a:lnTo>
                  <a:pt x="86" y="580"/>
                </a:lnTo>
                <a:lnTo>
                  <a:pt x="89" y="590"/>
                </a:lnTo>
                <a:lnTo>
                  <a:pt x="94" y="599"/>
                </a:lnTo>
                <a:lnTo>
                  <a:pt x="99" y="608"/>
                </a:lnTo>
                <a:lnTo>
                  <a:pt x="106" y="615"/>
                </a:lnTo>
                <a:lnTo>
                  <a:pt x="111" y="620"/>
                </a:lnTo>
                <a:lnTo>
                  <a:pt x="117" y="624"/>
                </a:lnTo>
                <a:lnTo>
                  <a:pt x="122" y="628"/>
                </a:lnTo>
                <a:lnTo>
                  <a:pt x="129" y="631"/>
                </a:lnTo>
                <a:lnTo>
                  <a:pt x="135" y="633"/>
                </a:lnTo>
                <a:lnTo>
                  <a:pt x="142" y="634"/>
                </a:lnTo>
                <a:lnTo>
                  <a:pt x="149" y="635"/>
                </a:lnTo>
                <a:lnTo>
                  <a:pt x="156" y="635"/>
                </a:lnTo>
                <a:lnTo>
                  <a:pt x="168" y="635"/>
                </a:lnTo>
                <a:lnTo>
                  <a:pt x="177" y="633"/>
                </a:lnTo>
                <a:lnTo>
                  <a:pt x="180" y="643"/>
                </a:lnTo>
                <a:lnTo>
                  <a:pt x="182" y="652"/>
                </a:lnTo>
                <a:lnTo>
                  <a:pt x="186" y="661"/>
                </a:lnTo>
                <a:lnTo>
                  <a:pt x="192" y="668"/>
                </a:lnTo>
                <a:lnTo>
                  <a:pt x="197" y="676"/>
                </a:lnTo>
                <a:lnTo>
                  <a:pt x="205" y="683"/>
                </a:lnTo>
                <a:lnTo>
                  <a:pt x="213" y="688"/>
                </a:lnTo>
                <a:lnTo>
                  <a:pt x="222" y="693"/>
                </a:lnTo>
                <a:lnTo>
                  <a:pt x="232" y="696"/>
                </a:lnTo>
                <a:lnTo>
                  <a:pt x="242" y="698"/>
                </a:lnTo>
                <a:lnTo>
                  <a:pt x="251" y="698"/>
                </a:lnTo>
                <a:lnTo>
                  <a:pt x="260" y="697"/>
                </a:lnTo>
                <a:lnTo>
                  <a:pt x="270" y="695"/>
                </a:lnTo>
                <a:lnTo>
                  <a:pt x="279" y="692"/>
                </a:lnTo>
                <a:lnTo>
                  <a:pt x="288" y="687"/>
                </a:lnTo>
                <a:lnTo>
                  <a:pt x="296" y="682"/>
                </a:lnTo>
                <a:lnTo>
                  <a:pt x="301" y="689"/>
                </a:lnTo>
                <a:lnTo>
                  <a:pt x="307" y="697"/>
                </a:lnTo>
                <a:lnTo>
                  <a:pt x="314" y="704"/>
                </a:lnTo>
                <a:lnTo>
                  <a:pt x="322" y="709"/>
                </a:lnTo>
                <a:lnTo>
                  <a:pt x="331" y="714"/>
                </a:lnTo>
                <a:lnTo>
                  <a:pt x="340" y="717"/>
                </a:lnTo>
                <a:lnTo>
                  <a:pt x="350" y="719"/>
                </a:lnTo>
                <a:lnTo>
                  <a:pt x="360" y="719"/>
                </a:lnTo>
                <a:lnTo>
                  <a:pt x="370" y="719"/>
                </a:lnTo>
                <a:lnTo>
                  <a:pt x="380" y="717"/>
                </a:lnTo>
                <a:lnTo>
                  <a:pt x="388" y="714"/>
                </a:lnTo>
                <a:lnTo>
                  <a:pt x="397" y="709"/>
                </a:lnTo>
                <a:lnTo>
                  <a:pt x="405" y="704"/>
                </a:lnTo>
                <a:lnTo>
                  <a:pt x="412" y="697"/>
                </a:lnTo>
                <a:lnTo>
                  <a:pt x="418" y="689"/>
                </a:lnTo>
                <a:lnTo>
                  <a:pt x="424" y="682"/>
                </a:lnTo>
                <a:lnTo>
                  <a:pt x="431" y="687"/>
                </a:lnTo>
                <a:lnTo>
                  <a:pt x="440" y="692"/>
                </a:lnTo>
                <a:lnTo>
                  <a:pt x="449" y="695"/>
                </a:lnTo>
                <a:lnTo>
                  <a:pt x="458" y="697"/>
                </a:lnTo>
                <a:lnTo>
                  <a:pt x="468" y="698"/>
                </a:lnTo>
                <a:lnTo>
                  <a:pt x="478" y="698"/>
                </a:lnTo>
                <a:lnTo>
                  <a:pt x="488" y="696"/>
                </a:lnTo>
                <a:lnTo>
                  <a:pt x="497" y="693"/>
                </a:lnTo>
                <a:lnTo>
                  <a:pt x="507" y="688"/>
                </a:lnTo>
                <a:lnTo>
                  <a:pt x="514" y="683"/>
                </a:lnTo>
                <a:lnTo>
                  <a:pt x="522" y="676"/>
                </a:lnTo>
                <a:lnTo>
                  <a:pt x="528" y="668"/>
                </a:lnTo>
                <a:lnTo>
                  <a:pt x="533" y="661"/>
                </a:lnTo>
                <a:lnTo>
                  <a:pt x="536" y="652"/>
                </a:lnTo>
                <a:lnTo>
                  <a:pt x="540" y="643"/>
                </a:lnTo>
                <a:lnTo>
                  <a:pt x="541" y="633"/>
                </a:lnTo>
                <a:lnTo>
                  <a:pt x="552" y="635"/>
                </a:lnTo>
                <a:lnTo>
                  <a:pt x="563" y="635"/>
                </a:lnTo>
                <a:lnTo>
                  <a:pt x="569" y="635"/>
                </a:lnTo>
                <a:lnTo>
                  <a:pt x="577" y="634"/>
                </a:lnTo>
                <a:lnTo>
                  <a:pt x="584" y="633"/>
                </a:lnTo>
                <a:lnTo>
                  <a:pt x="590" y="631"/>
                </a:lnTo>
                <a:lnTo>
                  <a:pt x="597" y="628"/>
                </a:lnTo>
                <a:lnTo>
                  <a:pt x="603" y="624"/>
                </a:lnTo>
                <a:lnTo>
                  <a:pt x="608" y="620"/>
                </a:lnTo>
                <a:lnTo>
                  <a:pt x="614" y="615"/>
                </a:lnTo>
                <a:lnTo>
                  <a:pt x="620" y="608"/>
                </a:lnTo>
                <a:lnTo>
                  <a:pt x="626" y="599"/>
                </a:lnTo>
                <a:lnTo>
                  <a:pt x="630" y="590"/>
                </a:lnTo>
                <a:lnTo>
                  <a:pt x="632" y="580"/>
                </a:lnTo>
                <a:lnTo>
                  <a:pt x="635" y="571"/>
                </a:lnTo>
                <a:lnTo>
                  <a:pt x="635" y="561"/>
                </a:lnTo>
                <a:lnTo>
                  <a:pt x="634" y="551"/>
                </a:lnTo>
                <a:lnTo>
                  <a:pt x="631" y="543"/>
                </a:lnTo>
                <a:lnTo>
                  <a:pt x="641" y="540"/>
                </a:lnTo>
                <a:lnTo>
                  <a:pt x="651" y="538"/>
                </a:lnTo>
                <a:lnTo>
                  <a:pt x="660" y="534"/>
                </a:lnTo>
                <a:lnTo>
                  <a:pt x="668" y="528"/>
                </a:lnTo>
                <a:lnTo>
                  <a:pt x="675" y="523"/>
                </a:lnTo>
                <a:lnTo>
                  <a:pt x="682" y="515"/>
                </a:lnTo>
                <a:lnTo>
                  <a:pt x="688" y="507"/>
                </a:lnTo>
                <a:lnTo>
                  <a:pt x="692" y="498"/>
                </a:lnTo>
                <a:lnTo>
                  <a:pt x="694" y="488"/>
                </a:lnTo>
                <a:lnTo>
                  <a:pt x="696" y="479"/>
                </a:lnTo>
                <a:lnTo>
                  <a:pt x="698" y="470"/>
                </a:lnTo>
                <a:lnTo>
                  <a:pt x="696" y="460"/>
                </a:lnTo>
                <a:lnTo>
                  <a:pt x="694" y="450"/>
                </a:lnTo>
                <a:lnTo>
                  <a:pt x="691" y="441"/>
                </a:lnTo>
                <a:lnTo>
                  <a:pt x="687" y="433"/>
                </a:lnTo>
                <a:lnTo>
                  <a:pt x="681" y="424"/>
                </a:lnTo>
                <a:lnTo>
                  <a:pt x="689" y="420"/>
                </a:lnTo>
                <a:lnTo>
                  <a:pt x="696" y="413"/>
                </a:lnTo>
                <a:lnTo>
                  <a:pt x="703" y="406"/>
                </a:lnTo>
                <a:lnTo>
                  <a:pt x="709" y="398"/>
                </a:lnTo>
                <a:lnTo>
                  <a:pt x="713" y="389"/>
                </a:lnTo>
                <a:lnTo>
                  <a:pt x="716" y="380"/>
                </a:lnTo>
                <a:lnTo>
                  <a:pt x="719" y="370"/>
                </a:lnTo>
                <a:lnTo>
                  <a:pt x="719" y="3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52" name="Freeform 1674">
            <a:extLst>
              <a:ext uri="{FF2B5EF4-FFF2-40B4-BE49-F238E27FC236}">
                <a16:creationId xmlns:a16="http://schemas.microsoft.com/office/drawing/2014/main" id="{BBE1FB04-8977-41FC-AE49-BA21B02F67E8}"/>
              </a:ext>
            </a:extLst>
          </p:cNvPr>
          <p:cNvSpPr>
            <a:spLocks noEditPoints="1"/>
          </p:cNvSpPr>
          <p:nvPr/>
        </p:nvSpPr>
        <p:spPr bwMode="auto">
          <a:xfrm>
            <a:off x="10756010" y="4704497"/>
            <a:ext cx="418367" cy="418367"/>
          </a:xfrm>
          <a:custGeom>
            <a:avLst/>
            <a:gdLst>
              <a:gd name="T0" fmla="*/ 503 w 718"/>
              <a:gd name="T1" fmla="*/ 505 h 719"/>
              <a:gd name="T2" fmla="*/ 359 w 718"/>
              <a:gd name="T3" fmla="*/ 378 h 719"/>
              <a:gd name="T4" fmla="*/ 215 w 718"/>
              <a:gd name="T5" fmla="*/ 505 h 719"/>
              <a:gd name="T6" fmla="*/ 342 w 718"/>
              <a:gd name="T7" fmla="*/ 360 h 719"/>
              <a:gd name="T8" fmla="*/ 215 w 718"/>
              <a:gd name="T9" fmla="*/ 215 h 719"/>
              <a:gd name="T10" fmla="*/ 359 w 718"/>
              <a:gd name="T11" fmla="*/ 342 h 719"/>
              <a:gd name="T12" fmla="*/ 503 w 718"/>
              <a:gd name="T13" fmla="*/ 215 h 719"/>
              <a:gd name="T14" fmla="*/ 376 w 718"/>
              <a:gd name="T15" fmla="*/ 360 h 719"/>
              <a:gd name="T16" fmla="*/ 712 w 718"/>
              <a:gd name="T17" fmla="*/ 331 h 719"/>
              <a:gd name="T18" fmla="*/ 680 w 718"/>
              <a:gd name="T19" fmla="*/ 296 h 719"/>
              <a:gd name="T20" fmla="*/ 696 w 718"/>
              <a:gd name="T21" fmla="*/ 252 h 719"/>
              <a:gd name="T22" fmla="*/ 681 w 718"/>
              <a:gd name="T23" fmla="*/ 206 h 719"/>
              <a:gd name="T24" fmla="*/ 641 w 718"/>
              <a:gd name="T25" fmla="*/ 180 h 719"/>
              <a:gd name="T26" fmla="*/ 632 w 718"/>
              <a:gd name="T27" fmla="*/ 140 h 719"/>
              <a:gd name="T28" fmla="*/ 608 w 718"/>
              <a:gd name="T29" fmla="*/ 101 h 719"/>
              <a:gd name="T30" fmla="*/ 576 w 718"/>
              <a:gd name="T31" fmla="*/ 86 h 719"/>
              <a:gd name="T32" fmla="*/ 539 w 718"/>
              <a:gd name="T33" fmla="*/ 79 h 719"/>
              <a:gd name="T34" fmla="*/ 514 w 718"/>
              <a:gd name="T35" fmla="*/ 38 h 719"/>
              <a:gd name="T36" fmla="*/ 468 w 718"/>
              <a:gd name="T37" fmla="*/ 23 h 719"/>
              <a:gd name="T38" fmla="*/ 422 w 718"/>
              <a:gd name="T39" fmla="*/ 39 h 719"/>
              <a:gd name="T40" fmla="*/ 388 w 718"/>
              <a:gd name="T41" fmla="*/ 7 h 719"/>
              <a:gd name="T42" fmla="*/ 340 w 718"/>
              <a:gd name="T43" fmla="*/ 3 h 719"/>
              <a:gd name="T44" fmla="*/ 300 w 718"/>
              <a:gd name="T45" fmla="*/ 30 h 719"/>
              <a:gd name="T46" fmla="*/ 260 w 718"/>
              <a:gd name="T47" fmla="*/ 23 h 719"/>
              <a:gd name="T48" fmla="*/ 213 w 718"/>
              <a:gd name="T49" fmla="*/ 32 h 719"/>
              <a:gd name="T50" fmla="*/ 182 w 718"/>
              <a:gd name="T51" fmla="*/ 69 h 719"/>
              <a:gd name="T52" fmla="*/ 149 w 718"/>
              <a:gd name="T53" fmla="*/ 85 h 719"/>
              <a:gd name="T54" fmla="*/ 115 w 718"/>
              <a:gd name="T55" fmla="*/ 97 h 719"/>
              <a:gd name="T56" fmla="*/ 89 w 718"/>
              <a:gd name="T57" fmla="*/ 130 h 719"/>
              <a:gd name="T58" fmla="*/ 87 w 718"/>
              <a:gd name="T59" fmla="*/ 179 h 719"/>
              <a:gd name="T60" fmla="*/ 44 w 718"/>
              <a:gd name="T61" fmla="*/ 199 h 719"/>
              <a:gd name="T62" fmla="*/ 22 w 718"/>
              <a:gd name="T63" fmla="*/ 242 h 719"/>
              <a:gd name="T64" fmla="*/ 33 w 718"/>
              <a:gd name="T65" fmla="*/ 288 h 719"/>
              <a:gd name="T66" fmla="*/ 11 w 718"/>
              <a:gd name="T67" fmla="*/ 323 h 719"/>
              <a:gd name="T68" fmla="*/ 1 w 718"/>
              <a:gd name="T69" fmla="*/ 370 h 719"/>
              <a:gd name="T70" fmla="*/ 23 w 718"/>
              <a:gd name="T71" fmla="*/ 412 h 719"/>
              <a:gd name="T72" fmla="*/ 25 w 718"/>
              <a:gd name="T73" fmla="*/ 450 h 719"/>
              <a:gd name="T74" fmla="*/ 27 w 718"/>
              <a:gd name="T75" fmla="*/ 497 h 719"/>
              <a:gd name="T76" fmla="*/ 59 w 718"/>
              <a:gd name="T77" fmla="*/ 533 h 719"/>
              <a:gd name="T78" fmla="*/ 83 w 718"/>
              <a:gd name="T79" fmla="*/ 561 h 719"/>
              <a:gd name="T80" fmla="*/ 98 w 718"/>
              <a:gd name="T81" fmla="*/ 606 h 719"/>
              <a:gd name="T82" fmla="*/ 129 w 718"/>
              <a:gd name="T83" fmla="*/ 630 h 719"/>
              <a:gd name="T84" fmla="*/ 166 w 718"/>
              <a:gd name="T85" fmla="*/ 634 h 719"/>
              <a:gd name="T86" fmla="*/ 191 w 718"/>
              <a:gd name="T87" fmla="*/ 668 h 719"/>
              <a:gd name="T88" fmla="*/ 231 w 718"/>
              <a:gd name="T89" fmla="*/ 696 h 719"/>
              <a:gd name="T90" fmla="*/ 279 w 718"/>
              <a:gd name="T91" fmla="*/ 691 h 719"/>
              <a:gd name="T92" fmla="*/ 313 w 718"/>
              <a:gd name="T93" fmla="*/ 704 h 719"/>
              <a:gd name="T94" fmla="*/ 359 w 718"/>
              <a:gd name="T95" fmla="*/ 719 h 719"/>
              <a:gd name="T96" fmla="*/ 405 w 718"/>
              <a:gd name="T97" fmla="*/ 704 h 719"/>
              <a:gd name="T98" fmla="*/ 439 w 718"/>
              <a:gd name="T99" fmla="*/ 691 h 719"/>
              <a:gd name="T100" fmla="*/ 486 w 718"/>
              <a:gd name="T101" fmla="*/ 696 h 719"/>
              <a:gd name="T102" fmla="*/ 527 w 718"/>
              <a:gd name="T103" fmla="*/ 668 h 719"/>
              <a:gd name="T104" fmla="*/ 552 w 718"/>
              <a:gd name="T105" fmla="*/ 634 h 719"/>
              <a:gd name="T106" fmla="*/ 589 w 718"/>
              <a:gd name="T107" fmla="*/ 630 h 719"/>
              <a:gd name="T108" fmla="*/ 620 w 718"/>
              <a:gd name="T109" fmla="*/ 606 h 719"/>
              <a:gd name="T110" fmla="*/ 634 w 718"/>
              <a:gd name="T111" fmla="*/ 561 h 719"/>
              <a:gd name="T112" fmla="*/ 659 w 718"/>
              <a:gd name="T113" fmla="*/ 533 h 719"/>
              <a:gd name="T114" fmla="*/ 691 w 718"/>
              <a:gd name="T115" fmla="*/ 497 h 719"/>
              <a:gd name="T116" fmla="*/ 694 w 718"/>
              <a:gd name="T117" fmla="*/ 450 h 719"/>
              <a:gd name="T118" fmla="*/ 695 w 718"/>
              <a:gd name="T119" fmla="*/ 412 h 719"/>
              <a:gd name="T120" fmla="*/ 717 w 718"/>
              <a:gd name="T121" fmla="*/ 37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18" h="719">
                <a:moveTo>
                  <a:pt x="503" y="488"/>
                </a:moveTo>
                <a:lnTo>
                  <a:pt x="506" y="492"/>
                </a:lnTo>
                <a:lnTo>
                  <a:pt x="507" y="496"/>
                </a:lnTo>
                <a:lnTo>
                  <a:pt x="506" y="500"/>
                </a:lnTo>
                <a:lnTo>
                  <a:pt x="503" y="505"/>
                </a:lnTo>
                <a:lnTo>
                  <a:pt x="500" y="507"/>
                </a:lnTo>
                <a:lnTo>
                  <a:pt x="495" y="508"/>
                </a:lnTo>
                <a:lnTo>
                  <a:pt x="491" y="507"/>
                </a:lnTo>
                <a:lnTo>
                  <a:pt x="486" y="505"/>
                </a:lnTo>
                <a:lnTo>
                  <a:pt x="359" y="378"/>
                </a:lnTo>
                <a:lnTo>
                  <a:pt x="231" y="505"/>
                </a:lnTo>
                <a:lnTo>
                  <a:pt x="228" y="507"/>
                </a:lnTo>
                <a:lnTo>
                  <a:pt x="223" y="508"/>
                </a:lnTo>
                <a:lnTo>
                  <a:pt x="218" y="507"/>
                </a:lnTo>
                <a:lnTo>
                  <a:pt x="215" y="505"/>
                </a:lnTo>
                <a:lnTo>
                  <a:pt x="212" y="500"/>
                </a:lnTo>
                <a:lnTo>
                  <a:pt x="212" y="496"/>
                </a:lnTo>
                <a:lnTo>
                  <a:pt x="212" y="492"/>
                </a:lnTo>
                <a:lnTo>
                  <a:pt x="215" y="488"/>
                </a:lnTo>
                <a:lnTo>
                  <a:pt x="342" y="360"/>
                </a:lnTo>
                <a:lnTo>
                  <a:pt x="215" y="233"/>
                </a:lnTo>
                <a:lnTo>
                  <a:pt x="212" y="229"/>
                </a:lnTo>
                <a:lnTo>
                  <a:pt x="212" y="224"/>
                </a:lnTo>
                <a:lnTo>
                  <a:pt x="212" y="220"/>
                </a:lnTo>
                <a:lnTo>
                  <a:pt x="215" y="215"/>
                </a:lnTo>
                <a:lnTo>
                  <a:pt x="218" y="213"/>
                </a:lnTo>
                <a:lnTo>
                  <a:pt x="223" y="212"/>
                </a:lnTo>
                <a:lnTo>
                  <a:pt x="228" y="213"/>
                </a:lnTo>
                <a:lnTo>
                  <a:pt x="231" y="215"/>
                </a:lnTo>
                <a:lnTo>
                  <a:pt x="359" y="342"/>
                </a:lnTo>
                <a:lnTo>
                  <a:pt x="486" y="215"/>
                </a:lnTo>
                <a:lnTo>
                  <a:pt x="491" y="213"/>
                </a:lnTo>
                <a:lnTo>
                  <a:pt x="495" y="212"/>
                </a:lnTo>
                <a:lnTo>
                  <a:pt x="500" y="213"/>
                </a:lnTo>
                <a:lnTo>
                  <a:pt x="503" y="215"/>
                </a:lnTo>
                <a:lnTo>
                  <a:pt x="506" y="220"/>
                </a:lnTo>
                <a:lnTo>
                  <a:pt x="507" y="224"/>
                </a:lnTo>
                <a:lnTo>
                  <a:pt x="506" y="229"/>
                </a:lnTo>
                <a:lnTo>
                  <a:pt x="503" y="233"/>
                </a:lnTo>
                <a:lnTo>
                  <a:pt x="376" y="360"/>
                </a:lnTo>
                <a:lnTo>
                  <a:pt x="503" y="488"/>
                </a:lnTo>
                <a:close/>
                <a:moveTo>
                  <a:pt x="718" y="360"/>
                </a:moveTo>
                <a:lnTo>
                  <a:pt x="717" y="350"/>
                </a:lnTo>
                <a:lnTo>
                  <a:pt x="715" y="340"/>
                </a:lnTo>
                <a:lnTo>
                  <a:pt x="712" y="331"/>
                </a:lnTo>
                <a:lnTo>
                  <a:pt x="707" y="323"/>
                </a:lnTo>
                <a:lnTo>
                  <a:pt x="702" y="315"/>
                </a:lnTo>
                <a:lnTo>
                  <a:pt x="695" y="307"/>
                </a:lnTo>
                <a:lnTo>
                  <a:pt x="689" y="302"/>
                </a:lnTo>
                <a:lnTo>
                  <a:pt x="680" y="296"/>
                </a:lnTo>
                <a:lnTo>
                  <a:pt x="685" y="288"/>
                </a:lnTo>
                <a:lnTo>
                  <a:pt x="690" y="280"/>
                </a:lnTo>
                <a:lnTo>
                  <a:pt x="693" y="271"/>
                </a:lnTo>
                <a:lnTo>
                  <a:pt x="695" y="262"/>
                </a:lnTo>
                <a:lnTo>
                  <a:pt x="696" y="252"/>
                </a:lnTo>
                <a:lnTo>
                  <a:pt x="696" y="242"/>
                </a:lnTo>
                <a:lnTo>
                  <a:pt x="694" y="233"/>
                </a:lnTo>
                <a:lnTo>
                  <a:pt x="691" y="223"/>
                </a:lnTo>
                <a:lnTo>
                  <a:pt x="686" y="214"/>
                </a:lnTo>
                <a:lnTo>
                  <a:pt x="681" y="206"/>
                </a:lnTo>
                <a:lnTo>
                  <a:pt x="674" y="199"/>
                </a:lnTo>
                <a:lnTo>
                  <a:pt x="668" y="192"/>
                </a:lnTo>
                <a:lnTo>
                  <a:pt x="659" y="187"/>
                </a:lnTo>
                <a:lnTo>
                  <a:pt x="650" y="183"/>
                </a:lnTo>
                <a:lnTo>
                  <a:pt x="641" y="180"/>
                </a:lnTo>
                <a:lnTo>
                  <a:pt x="631" y="179"/>
                </a:lnTo>
                <a:lnTo>
                  <a:pt x="633" y="169"/>
                </a:lnTo>
                <a:lnTo>
                  <a:pt x="634" y="159"/>
                </a:lnTo>
                <a:lnTo>
                  <a:pt x="633" y="149"/>
                </a:lnTo>
                <a:lnTo>
                  <a:pt x="632" y="140"/>
                </a:lnTo>
                <a:lnTo>
                  <a:pt x="629" y="130"/>
                </a:lnTo>
                <a:lnTo>
                  <a:pt x="626" y="122"/>
                </a:lnTo>
                <a:lnTo>
                  <a:pt x="620" y="114"/>
                </a:lnTo>
                <a:lnTo>
                  <a:pt x="613" y="106"/>
                </a:lnTo>
                <a:lnTo>
                  <a:pt x="608" y="101"/>
                </a:lnTo>
                <a:lnTo>
                  <a:pt x="602" y="97"/>
                </a:lnTo>
                <a:lnTo>
                  <a:pt x="596" y="94"/>
                </a:lnTo>
                <a:lnTo>
                  <a:pt x="589" y="91"/>
                </a:lnTo>
                <a:lnTo>
                  <a:pt x="583" y="88"/>
                </a:lnTo>
                <a:lnTo>
                  <a:pt x="576" y="86"/>
                </a:lnTo>
                <a:lnTo>
                  <a:pt x="569" y="85"/>
                </a:lnTo>
                <a:lnTo>
                  <a:pt x="562" y="85"/>
                </a:lnTo>
                <a:lnTo>
                  <a:pt x="552" y="85"/>
                </a:lnTo>
                <a:lnTo>
                  <a:pt x="541" y="87"/>
                </a:lnTo>
                <a:lnTo>
                  <a:pt x="539" y="79"/>
                </a:lnTo>
                <a:lnTo>
                  <a:pt x="536" y="70"/>
                </a:lnTo>
                <a:lnTo>
                  <a:pt x="533" y="61"/>
                </a:lnTo>
                <a:lnTo>
                  <a:pt x="527" y="52"/>
                </a:lnTo>
                <a:lnTo>
                  <a:pt x="521" y="45"/>
                </a:lnTo>
                <a:lnTo>
                  <a:pt x="514" y="38"/>
                </a:lnTo>
                <a:lnTo>
                  <a:pt x="505" y="32"/>
                </a:lnTo>
                <a:lnTo>
                  <a:pt x="496" y="28"/>
                </a:lnTo>
                <a:lnTo>
                  <a:pt x="486" y="24"/>
                </a:lnTo>
                <a:lnTo>
                  <a:pt x="478" y="23"/>
                </a:lnTo>
                <a:lnTo>
                  <a:pt x="468" y="23"/>
                </a:lnTo>
                <a:lnTo>
                  <a:pt x="458" y="23"/>
                </a:lnTo>
                <a:lnTo>
                  <a:pt x="448" y="26"/>
                </a:lnTo>
                <a:lnTo>
                  <a:pt x="439" y="29"/>
                </a:lnTo>
                <a:lnTo>
                  <a:pt x="430" y="33"/>
                </a:lnTo>
                <a:lnTo>
                  <a:pt x="422" y="39"/>
                </a:lnTo>
                <a:lnTo>
                  <a:pt x="418" y="30"/>
                </a:lnTo>
                <a:lnTo>
                  <a:pt x="411" y="23"/>
                </a:lnTo>
                <a:lnTo>
                  <a:pt x="405" y="17"/>
                </a:lnTo>
                <a:lnTo>
                  <a:pt x="397" y="11"/>
                </a:lnTo>
                <a:lnTo>
                  <a:pt x="388" y="7"/>
                </a:lnTo>
                <a:lnTo>
                  <a:pt x="378" y="3"/>
                </a:lnTo>
                <a:lnTo>
                  <a:pt x="369" y="1"/>
                </a:lnTo>
                <a:lnTo>
                  <a:pt x="359" y="0"/>
                </a:lnTo>
                <a:lnTo>
                  <a:pt x="348" y="1"/>
                </a:lnTo>
                <a:lnTo>
                  <a:pt x="340" y="3"/>
                </a:lnTo>
                <a:lnTo>
                  <a:pt x="330" y="7"/>
                </a:lnTo>
                <a:lnTo>
                  <a:pt x="322" y="11"/>
                </a:lnTo>
                <a:lnTo>
                  <a:pt x="313" y="17"/>
                </a:lnTo>
                <a:lnTo>
                  <a:pt x="306" y="23"/>
                </a:lnTo>
                <a:lnTo>
                  <a:pt x="300" y="30"/>
                </a:lnTo>
                <a:lnTo>
                  <a:pt x="295" y="39"/>
                </a:lnTo>
                <a:lnTo>
                  <a:pt x="288" y="33"/>
                </a:lnTo>
                <a:lnTo>
                  <a:pt x="279" y="29"/>
                </a:lnTo>
                <a:lnTo>
                  <a:pt x="270" y="26"/>
                </a:lnTo>
                <a:lnTo>
                  <a:pt x="260" y="23"/>
                </a:lnTo>
                <a:lnTo>
                  <a:pt x="250" y="23"/>
                </a:lnTo>
                <a:lnTo>
                  <a:pt x="240" y="23"/>
                </a:lnTo>
                <a:lnTo>
                  <a:pt x="231" y="24"/>
                </a:lnTo>
                <a:lnTo>
                  <a:pt x="221" y="28"/>
                </a:lnTo>
                <a:lnTo>
                  <a:pt x="213" y="32"/>
                </a:lnTo>
                <a:lnTo>
                  <a:pt x="204" y="38"/>
                </a:lnTo>
                <a:lnTo>
                  <a:pt x="197" y="44"/>
                </a:lnTo>
                <a:lnTo>
                  <a:pt x="191" y="52"/>
                </a:lnTo>
                <a:lnTo>
                  <a:pt x="186" y="60"/>
                </a:lnTo>
                <a:lnTo>
                  <a:pt x="182" y="69"/>
                </a:lnTo>
                <a:lnTo>
                  <a:pt x="178" y="79"/>
                </a:lnTo>
                <a:lnTo>
                  <a:pt x="177" y="87"/>
                </a:lnTo>
                <a:lnTo>
                  <a:pt x="166" y="85"/>
                </a:lnTo>
                <a:lnTo>
                  <a:pt x="156" y="85"/>
                </a:lnTo>
                <a:lnTo>
                  <a:pt x="149" y="85"/>
                </a:lnTo>
                <a:lnTo>
                  <a:pt x="142" y="86"/>
                </a:lnTo>
                <a:lnTo>
                  <a:pt x="135" y="88"/>
                </a:lnTo>
                <a:lnTo>
                  <a:pt x="129" y="91"/>
                </a:lnTo>
                <a:lnTo>
                  <a:pt x="122" y="94"/>
                </a:lnTo>
                <a:lnTo>
                  <a:pt x="115" y="97"/>
                </a:lnTo>
                <a:lnTo>
                  <a:pt x="110" y="101"/>
                </a:lnTo>
                <a:lnTo>
                  <a:pt x="104" y="106"/>
                </a:lnTo>
                <a:lnTo>
                  <a:pt x="98" y="114"/>
                </a:lnTo>
                <a:lnTo>
                  <a:pt x="93" y="122"/>
                </a:lnTo>
                <a:lnTo>
                  <a:pt x="89" y="130"/>
                </a:lnTo>
                <a:lnTo>
                  <a:pt x="86" y="140"/>
                </a:lnTo>
                <a:lnTo>
                  <a:pt x="85" y="149"/>
                </a:lnTo>
                <a:lnTo>
                  <a:pt x="83" y="159"/>
                </a:lnTo>
                <a:lnTo>
                  <a:pt x="85" y="169"/>
                </a:lnTo>
                <a:lnTo>
                  <a:pt x="87" y="179"/>
                </a:lnTo>
                <a:lnTo>
                  <a:pt x="77" y="180"/>
                </a:lnTo>
                <a:lnTo>
                  <a:pt x="68" y="183"/>
                </a:lnTo>
                <a:lnTo>
                  <a:pt x="59" y="187"/>
                </a:lnTo>
                <a:lnTo>
                  <a:pt x="51" y="192"/>
                </a:lnTo>
                <a:lnTo>
                  <a:pt x="44" y="199"/>
                </a:lnTo>
                <a:lnTo>
                  <a:pt x="37" y="206"/>
                </a:lnTo>
                <a:lnTo>
                  <a:pt x="32" y="214"/>
                </a:lnTo>
                <a:lnTo>
                  <a:pt x="27" y="223"/>
                </a:lnTo>
                <a:lnTo>
                  <a:pt x="24" y="233"/>
                </a:lnTo>
                <a:lnTo>
                  <a:pt x="22" y="242"/>
                </a:lnTo>
                <a:lnTo>
                  <a:pt x="22" y="252"/>
                </a:lnTo>
                <a:lnTo>
                  <a:pt x="23" y="262"/>
                </a:lnTo>
                <a:lnTo>
                  <a:pt x="25" y="271"/>
                </a:lnTo>
                <a:lnTo>
                  <a:pt x="28" y="280"/>
                </a:lnTo>
                <a:lnTo>
                  <a:pt x="33" y="288"/>
                </a:lnTo>
                <a:lnTo>
                  <a:pt x="38" y="296"/>
                </a:lnTo>
                <a:lnTo>
                  <a:pt x="29" y="302"/>
                </a:lnTo>
                <a:lnTo>
                  <a:pt x="23" y="307"/>
                </a:lnTo>
                <a:lnTo>
                  <a:pt x="16" y="315"/>
                </a:lnTo>
                <a:lnTo>
                  <a:pt x="11" y="323"/>
                </a:lnTo>
                <a:lnTo>
                  <a:pt x="6" y="331"/>
                </a:lnTo>
                <a:lnTo>
                  <a:pt x="3" y="340"/>
                </a:lnTo>
                <a:lnTo>
                  <a:pt x="1" y="350"/>
                </a:lnTo>
                <a:lnTo>
                  <a:pt x="0" y="360"/>
                </a:lnTo>
                <a:lnTo>
                  <a:pt x="1" y="370"/>
                </a:lnTo>
                <a:lnTo>
                  <a:pt x="3" y="380"/>
                </a:lnTo>
                <a:lnTo>
                  <a:pt x="6" y="389"/>
                </a:lnTo>
                <a:lnTo>
                  <a:pt x="11" y="398"/>
                </a:lnTo>
                <a:lnTo>
                  <a:pt x="16" y="405"/>
                </a:lnTo>
                <a:lnTo>
                  <a:pt x="23" y="412"/>
                </a:lnTo>
                <a:lnTo>
                  <a:pt x="29" y="419"/>
                </a:lnTo>
                <a:lnTo>
                  <a:pt x="38" y="424"/>
                </a:lnTo>
                <a:lnTo>
                  <a:pt x="33" y="432"/>
                </a:lnTo>
                <a:lnTo>
                  <a:pt x="28" y="441"/>
                </a:lnTo>
                <a:lnTo>
                  <a:pt x="25" y="450"/>
                </a:lnTo>
                <a:lnTo>
                  <a:pt x="23" y="460"/>
                </a:lnTo>
                <a:lnTo>
                  <a:pt x="22" y="468"/>
                </a:lnTo>
                <a:lnTo>
                  <a:pt x="22" y="478"/>
                </a:lnTo>
                <a:lnTo>
                  <a:pt x="24" y="488"/>
                </a:lnTo>
                <a:lnTo>
                  <a:pt x="27" y="497"/>
                </a:lnTo>
                <a:lnTo>
                  <a:pt x="32" y="506"/>
                </a:lnTo>
                <a:lnTo>
                  <a:pt x="37" y="515"/>
                </a:lnTo>
                <a:lnTo>
                  <a:pt x="44" y="521"/>
                </a:lnTo>
                <a:lnTo>
                  <a:pt x="51" y="528"/>
                </a:lnTo>
                <a:lnTo>
                  <a:pt x="59" y="533"/>
                </a:lnTo>
                <a:lnTo>
                  <a:pt x="68" y="537"/>
                </a:lnTo>
                <a:lnTo>
                  <a:pt x="77" y="540"/>
                </a:lnTo>
                <a:lnTo>
                  <a:pt x="87" y="541"/>
                </a:lnTo>
                <a:lnTo>
                  <a:pt x="85" y="551"/>
                </a:lnTo>
                <a:lnTo>
                  <a:pt x="83" y="561"/>
                </a:lnTo>
                <a:lnTo>
                  <a:pt x="85" y="571"/>
                </a:lnTo>
                <a:lnTo>
                  <a:pt x="86" y="580"/>
                </a:lnTo>
                <a:lnTo>
                  <a:pt x="89" y="590"/>
                </a:lnTo>
                <a:lnTo>
                  <a:pt x="93" y="599"/>
                </a:lnTo>
                <a:lnTo>
                  <a:pt x="98" y="606"/>
                </a:lnTo>
                <a:lnTo>
                  <a:pt x="104" y="615"/>
                </a:lnTo>
                <a:lnTo>
                  <a:pt x="110" y="620"/>
                </a:lnTo>
                <a:lnTo>
                  <a:pt x="115" y="624"/>
                </a:lnTo>
                <a:lnTo>
                  <a:pt x="122" y="627"/>
                </a:lnTo>
                <a:lnTo>
                  <a:pt x="129" y="630"/>
                </a:lnTo>
                <a:lnTo>
                  <a:pt x="135" y="632"/>
                </a:lnTo>
                <a:lnTo>
                  <a:pt x="142" y="634"/>
                </a:lnTo>
                <a:lnTo>
                  <a:pt x="149" y="635"/>
                </a:lnTo>
                <a:lnTo>
                  <a:pt x="156" y="635"/>
                </a:lnTo>
                <a:lnTo>
                  <a:pt x="166" y="634"/>
                </a:lnTo>
                <a:lnTo>
                  <a:pt x="177" y="633"/>
                </a:lnTo>
                <a:lnTo>
                  <a:pt x="178" y="642"/>
                </a:lnTo>
                <a:lnTo>
                  <a:pt x="182" y="652"/>
                </a:lnTo>
                <a:lnTo>
                  <a:pt x="186" y="659"/>
                </a:lnTo>
                <a:lnTo>
                  <a:pt x="191" y="668"/>
                </a:lnTo>
                <a:lnTo>
                  <a:pt x="197" y="676"/>
                </a:lnTo>
                <a:lnTo>
                  <a:pt x="204" y="683"/>
                </a:lnTo>
                <a:lnTo>
                  <a:pt x="213" y="688"/>
                </a:lnTo>
                <a:lnTo>
                  <a:pt x="221" y="692"/>
                </a:lnTo>
                <a:lnTo>
                  <a:pt x="231" y="696"/>
                </a:lnTo>
                <a:lnTo>
                  <a:pt x="240" y="697"/>
                </a:lnTo>
                <a:lnTo>
                  <a:pt x="250" y="698"/>
                </a:lnTo>
                <a:lnTo>
                  <a:pt x="260" y="697"/>
                </a:lnTo>
                <a:lnTo>
                  <a:pt x="270" y="695"/>
                </a:lnTo>
                <a:lnTo>
                  <a:pt x="279" y="691"/>
                </a:lnTo>
                <a:lnTo>
                  <a:pt x="288" y="686"/>
                </a:lnTo>
                <a:lnTo>
                  <a:pt x="295" y="680"/>
                </a:lnTo>
                <a:lnTo>
                  <a:pt x="300" y="689"/>
                </a:lnTo>
                <a:lnTo>
                  <a:pt x="306" y="697"/>
                </a:lnTo>
                <a:lnTo>
                  <a:pt x="313" y="704"/>
                </a:lnTo>
                <a:lnTo>
                  <a:pt x="322" y="709"/>
                </a:lnTo>
                <a:lnTo>
                  <a:pt x="330" y="713"/>
                </a:lnTo>
                <a:lnTo>
                  <a:pt x="340" y="717"/>
                </a:lnTo>
                <a:lnTo>
                  <a:pt x="348" y="718"/>
                </a:lnTo>
                <a:lnTo>
                  <a:pt x="359" y="719"/>
                </a:lnTo>
                <a:lnTo>
                  <a:pt x="369" y="718"/>
                </a:lnTo>
                <a:lnTo>
                  <a:pt x="378" y="717"/>
                </a:lnTo>
                <a:lnTo>
                  <a:pt x="388" y="713"/>
                </a:lnTo>
                <a:lnTo>
                  <a:pt x="397" y="709"/>
                </a:lnTo>
                <a:lnTo>
                  <a:pt x="405" y="704"/>
                </a:lnTo>
                <a:lnTo>
                  <a:pt x="411" y="697"/>
                </a:lnTo>
                <a:lnTo>
                  <a:pt x="418" y="689"/>
                </a:lnTo>
                <a:lnTo>
                  <a:pt x="422" y="680"/>
                </a:lnTo>
                <a:lnTo>
                  <a:pt x="430" y="686"/>
                </a:lnTo>
                <a:lnTo>
                  <a:pt x="439" y="691"/>
                </a:lnTo>
                <a:lnTo>
                  <a:pt x="448" y="695"/>
                </a:lnTo>
                <a:lnTo>
                  <a:pt x="458" y="697"/>
                </a:lnTo>
                <a:lnTo>
                  <a:pt x="468" y="698"/>
                </a:lnTo>
                <a:lnTo>
                  <a:pt x="478" y="697"/>
                </a:lnTo>
                <a:lnTo>
                  <a:pt x="486" y="696"/>
                </a:lnTo>
                <a:lnTo>
                  <a:pt x="496" y="692"/>
                </a:lnTo>
                <a:lnTo>
                  <a:pt x="505" y="688"/>
                </a:lnTo>
                <a:lnTo>
                  <a:pt x="514" y="683"/>
                </a:lnTo>
                <a:lnTo>
                  <a:pt x="521" y="676"/>
                </a:lnTo>
                <a:lnTo>
                  <a:pt x="527" y="668"/>
                </a:lnTo>
                <a:lnTo>
                  <a:pt x="532" y="659"/>
                </a:lnTo>
                <a:lnTo>
                  <a:pt x="536" y="652"/>
                </a:lnTo>
                <a:lnTo>
                  <a:pt x="539" y="642"/>
                </a:lnTo>
                <a:lnTo>
                  <a:pt x="541" y="633"/>
                </a:lnTo>
                <a:lnTo>
                  <a:pt x="552" y="634"/>
                </a:lnTo>
                <a:lnTo>
                  <a:pt x="562" y="635"/>
                </a:lnTo>
                <a:lnTo>
                  <a:pt x="569" y="635"/>
                </a:lnTo>
                <a:lnTo>
                  <a:pt x="576" y="634"/>
                </a:lnTo>
                <a:lnTo>
                  <a:pt x="583" y="632"/>
                </a:lnTo>
                <a:lnTo>
                  <a:pt x="589" y="630"/>
                </a:lnTo>
                <a:lnTo>
                  <a:pt x="596" y="627"/>
                </a:lnTo>
                <a:lnTo>
                  <a:pt x="602" y="624"/>
                </a:lnTo>
                <a:lnTo>
                  <a:pt x="608" y="620"/>
                </a:lnTo>
                <a:lnTo>
                  <a:pt x="613" y="615"/>
                </a:lnTo>
                <a:lnTo>
                  <a:pt x="620" y="606"/>
                </a:lnTo>
                <a:lnTo>
                  <a:pt x="626" y="599"/>
                </a:lnTo>
                <a:lnTo>
                  <a:pt x="629" y="590"/>
                </a:lnTo>
                <a:lnTo>
                  <a:pt x="632" y="580"/>
                </a:lnTo>
                <a:lnTo>
                  <a:pt x="633" y="571"/>
                </a:lnTo>
                <a:lnTo>
                  <a:pt x="634" y="561"/>
                </a:lnTo>
                <a:lnTo>
                  <a:pt x="633" y="551"/>
                </a:lnTo>
                <a:lnTo>
                  <a:pt x="631" y="541"/>
                </a:lnTo>
                <a:lnTo>
                  <a:pt x="641" y="540"/>
                </a:lnTo>
                <a:lnTo>
                  <a:pt x="650" y="537"/>
                </a:lnTo>
                <a:lnTo>
                  <a:pt x="659" y="533"/>
                </a:lnTo>
                <a:lnTo>
                  <a:pt x="668" y="528"/>
                </a:lnTo>
                <a:lnTo>
                  <a:pt x="674" y="521"/>
                </a:lnTo>
                <a:lnTo>
                  <a:pt x="681" y="515"/>
                </a:lnTo>
                <a:lnTo>
                  <a:pt x="686" y="506"/>
                </a:lnTo>
                <a:lnTo>
                  <a:pt x="691" y="497"/>
                </a:lnTo>
                <a:lnTo>
                  <a:pt x="694" y="488"/>
                </a:lnTo>
                <a:lnTo>
                  <a:pt x="696" y="478"/>
                </a:lnTo>
                <a:lnTo>
                  <a:pt x="696" y="468"/>
                </a:lnTo>
                <a:lnTo>
                  <a:pt x="695" y="460"/>
                </a:lnTo>
                <a:lnTo>
                  <a:pt x="694" y="450"/>
                </a:lnTo>
                <a:lnTo>
                  <a:pt x="690" y="441"/>
                </a:lnTo>
                <a:lnTo>
                  <a:pt x="685" y="432"/>
                </a:lnTo>
                <a:lnTo>
                  <a:pt x="680" y="424"/>
                </a:lnTo>
                <a:lnTo>
                  <a:pt x="689" y="419"/>
                </a:lnTo>
                <a:lnTo>
                  <a:pt x="695" y="412"/>
                </a:lnTo>
                <a:lnTo>
                  <a:pt x="702" y="405"/>
                </a:lnTo>
                <a:lnTo>
                  <a:pt x="707" y="398"/>
                </a:lnTo>
                <a:lnTo>
                  <a:pt x="713" y="389"/>
                </a:lnTo>
                <a:lnTo>
                  <a:pt x="715" y="380"/>
                </a:lnTo>
                <a:lnTo>
                  <a:pt x="717" y="370"/>
                </a:lnTo>
                <a:lnTo>
                  <a:pt x="718" y="3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53" name="Freeform 1671">
            <a:extLst>
              <a:ext uri="{FF2B5EF4-FFF2-40B4-BE49-F238E27FC236}">
                <a16:creationId xmlns:a16="http://schemas.microsoft.com/office/drawing/2014/main" id="{4A9B933E-1C50-48D6-93C3-7A5B6EB82ACF}"/>
              </a:ext>
            </a:extLst>
          </p:cNvPr>
          <p:cNvSpPr>
            <a:spLocks noEditPoints="1"/>
          </p:cNvSpPr>
          <p:nvPr/>
        </p:nvSpPr>
        <p:spPr bwMode="auto">
          <a:xfrm>
            <a:off x="5169100" y="4858700"/>
            <a:ext cx="418367" cy="418367"/>
          </a:xfrm>
          <a:custGeom>
            <a:avLst/>
            <a:gdLst>
              <a:gd name="T0" fmla="*/ 279 w 719"/>
              <a:gd name="T1" fmla="*/ 477 h 719"/>
              <a:gd name="T2" fmla="*/ 197 w 719"/>
              <a:gd name="T3" fmla="*/ 387 h 719"/>
              <a:gd name="T4" fmla="*/ 217 w 719"/>
              <a:gd name="T5" fmla="*/ 382 h 719"/>
              <a:gd name="T6" fmla="*/ 515 w 719"/>
              <a:gd name="T7" fmla="*/ 243 h 719"/>
              <a:gd name="T8" fmla="*/ 519 w 719"/>
              <a:gd name="T9" fmla="*/ 263 h 719"/>
              <a:gd name="T10" fmla="*/ 709 w 719"/>
              <a:gd name="T11" fmla="*/ 323 h 719"/>
              <a:gd name="T12" fmla="*/ 687 w 719"/>
              <a:gd name="T13" fmla="*/ 289 h 719"/>
              <a:gd name="T14" fmla="*/ 696 w 719"/>
              <a:gd name="T15" fmla="*/ 243 h 719"/>
              <a:gd name="T16" fmla="*/ 675 w 719"/>
              <a:gd name="T17" fmla="*/ 199 h 719"/>
              <a:gd name="T18" fmla="*/ 631 w 719"/>
              <a:gd name="T19" fmla="*/ 179 h 719"/>
              <a:gd name="T20" fmla="*/ 630 w 719"/>
              <a:gd name="T21" fmla="*/ 131 h 719"/>
              <a:gd name="T22" fmla="*/ 603 w 719"/>
              <a:gd name="T23" fmla="*/ 98 h 719"/>
              <a:gd name="T24" fmla="*/ 569 w 719"/>
              <a:gd name="T25" fmla="*/ 87 h 719"/>
              <a:gd name="T26" fmla="*/ 536 w 719"/>
              <a:gd name="T27" fmla="*/ 70 h 719"/>
              <a:gd name="T28" fmla="*/ 507 w 719"/>
              <a:gd name="T29" fmla="*/ 34 h 719"/>
              <a:gd name="T30" fmla="*/ 458 w 719"/>
              <a:gd name="T31" fmla="*/ 25 h 719"/>
              <a:gd name="T32" fmla="*/ 418 w 719"/>
              <a:gd name="T33" fmla="*/ 31 h 719"/>
              <a:gd name="T34" fmla="*/ 380 w 719"/>
              <a:gd name="T35" fmla="*/ 4 h 719"/>
              <a:gd name="T36" fmla="*/ 331 w 719"/>
              <a:gd name="T37" fmla="*/ 7 h 719"/>
              <a:gd name="T38" fmla="*/ 296 w 719"/>
              <a:gd name="T39" fmla="*/ 39 h 719"/>
              <a:gd name="T40" fmla="*/ 251 w 719"/>
              <a:gd name="T41" fmla="*/ 24 h 719"/>
              <a:gd name="T42" fmla="*/ 205 w 719"/>
              <a:gd name="T43" fmla="*/ 39 h 719"/>
              <a:gd name="T44" fmla="*/ 180 w 719"/>
              <a:gd name="T45" fmla="*/ 79 h 719"/>
              <a:gd name="T46" fmla="*/ 142 w 719"/>
              <a:gd name="T47" fmla="*/ 88 h 719"/>
              <a:gd name="T48" fmla="*/ 111 w 719"/>
              <a:gd name="T49" fmla="*/ 102 h 719"/>
              <a:gd name="T50" fmla="*/ 86 w 719"/>
              <a:gd name="T51" fmla="*/ 141 h 719"/>
              <a:gd name="T52" fmla="*/ 78 w 719"/>
              <a:gd name="T53" fmla="*/ 180 h 719"/>
              <a:gd name="T54" fmla="*/ 37 w 719"/>
              <a:gd name="T55" fmla="*/ 207 h 719"/>
              <a:gd name="T56" fmla="*/ 22 w 719"/>
              <a:gd name="T57" fmla="*/ 252 h 719"/>
              <a:gd name="T58" fmla="*/ 38 w 719"/>
              <a:gd name="T59" fmla="*/ 296 h 719"/>
              <a:gd name="T60" fmla="*/ 6 w 719"/>
              <a:gd name="T61" fmla="*/ 332 h 719"/>
              <a:gd name="T62" fmla="*/ 3 w 719"/>
              <a:gd name="T63" fmla="*/ 380 h 719"/>
              <a:gd name="T64" fmla="*/ 31 w 719"/>
              <a:gd name="T65" fmla="*/ 420 h 719"/>
              <a:gd name="T66" fmla="*/ 23 w 719"/>
              <a:gd name="T67" fmla="*/ 460 h 719"/>
              <a:gd name="T68" fmla="*/ 32 w 719"/>
              <a:gd name="T69" fmla="*/ 507 h 719"/>
              <a:gd name="T70" fmla="*/ 68 w 719"/>
              <a:gd name="T71" fmla="*/ 538 h 719"/>
              <a:gd name="T72" fmla="*/ 85 w 719"/>
              <a:gd name="T73" fmla="*/ 571 h 719"/>
              <a:gd name="T74" fmla="*/ 106 w 719"/>
              <a:gd name="T75" fmla="*/ 615 h 719"/>
              <a:gd name="T76" fmla="*/ 135 w 719"/>
              <a:gd name="T77" fmla="*/ 633 h 719"/>
              <a:gd name="T78" fmla="*/ 177 w 719"/>
              <a:gd name="T79" fmla="*/ 633 h 719"/>
              <a:gd name="T80" fmla="*/ 197 w 719"/>
              <a:gd name="T81" fmla="*/ 676 h 719"/>
              <a:gd name="T82" fmla="*/ 242 w 719"/>
              <a:gd name="T83" fmla="*/ 698 h 719"/>
              <a:gd name="T84" fmla="*/ 288 w 719"/>
              <a:gd name="T85" fmla="*/ 687 h 719"/>
              <a:gd name="T86" fmla="*/ 322 w 719"/>
              <a:gd name="T87" fmla="*/ 709 h 719"/>
              <a:gd name="T88" fmla="*/ 370 w 719"/>
              <a:gd name="T89" fmla="*/ 719 h 719"/>
              <a:gd name="T90" fmla="*/ 412 w 719"/>
              <a:gd name="T91" fmla="*/ 697 h 719"/>
              <a:gd name="T92" fmla="*/ 449 w 719"/>
              <a:gd name="T93" fmla="*/ 695 h 719"/>
              <a:gd name="T94" fmla="*/ 497 w 719"/>
              <a:gd name="T95" fmla="*/ 693 h 719"/>
              <a:gd name="T96" fmla="*/ 533 w 719"/>
              <a:gd name="T97" fmla="*/ 661 h 719"/>
              <a:gd name="T98" fmla="*/ 563 w 719"/>
              <a:gd name="T99" fmla="*/ 635 h 719"/>
              <a:gd name="T100" fmla="*/ 597 w 719"/>
              <a:gd name="T101" fmla="*/ 628 h 719"/>
              <a:gd name="T102" fmla="*/ 626 w 719"/>
              <a:gd name="T103" fmla="*/ 599 h 719"/>
              <a:gd name="T104" fmla="*/ 634 w 719"/>
              <a:gd name="T105" fmla="*/ 551 h 719"/>
              <a:gd name="T106" fmla="*/ 668 w 719"/>
              <a:gd name="T107" fmla="*/ 528 h 719"/>
              <a:gd name="T108" fmla="*/ 694 w 719"/>
              <a:gd name="T109" fmla="*/ 488 h 719"/>
              <a:gd name="T110" fmla="*/ 691 w 719"/>
              <a:gd name="T111" fmla="*/ 441 h 719"/>
              <a:gd name="T112" fmla="*/ 703 w 719"/>
              <a:gd name="T113" fmla="*/ 406 h 719"/>
              <a:gd name="T114" fmla="*/ 719 w 719"/>
              <a:gd name="T115" fmla="*/ 36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8" y="477"/>
                </a:lnTo>
                <a:lnTo>
                  <a:pt x="285" y="479"/>
                </a:lnTo>
                <a:lnTo>
                  <a:pt x="279" y="477"/>
                </a:lnTo>
                <a:lnTo>
                  <a:pt x="276" y="475"/>
                </a:lnTo>
                <a:lnTo>
                  <a:pt x="200" y="400"/>
                </a:lnTo>
                <a:lnTo>
                  <a:pt x="197" y="396"/>
                </a:lnTo>
                <a:lnTo>
                  <a:pt x="196" y="391"/>
                </a:lnTo>
                <a:lnTo>
                  <a:pt x="197" y="387"/>
                </a:lnTo>
                <a:lnTo>
                  <a:pt x="200" y="382"/>
                </a:lnTo>
                <a:lnTo>
                  <a:pt x="204" y="380"/>
                </a:lnTo>
                <a:lnTo>
                  <a:pt x="208" y="379"/>
                </a:lnTo>
                <a:lnTo>
                  <a:pt x="213" y="380"/>
                </a:lnTo>
                <a:lnTo>
                  <a:pt x="217" y="382"/>
                </a:lnTo>
                <a:lnTo>
                  <a:pt x="285" y="450"/>
                </a:lnTo>
                <a:lnTo>
                  <a:pt x="502" y="247"/>
                </a:lnTo>
                <a:lnTo>
                  <a:pt x="507" y="243"/>
                </a:lnTo>
                <a:lnTo>
                  <a:pt x="511" y="243"/>
                </a:lnTo>
                <a:lnTo>
                  <a:pt x="515" y="243"/>
                </a:lnTo>
                <a:lnTo>
                  <a:pt x="520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19" y="360"/>
                </a:moveTo>
                <a:lnTo>
                  <a:pt x="719" y="350"/>
                </a:lnTo>
                <a:lnTo>
                  <a:pt x="716" y="341"/>
                </a:lnTo>
                <a:lnTo>
                  <a:pt x="713" y="332"/>
                </a:lnTo>
                <a:lnTo>
                  <a:pt x="709" y="323"/>
                </a:lnTo>
                <a:lnTo>
                  <a:pt x="703" y="315"/>
                </a:lnTo>
                <a:lnTo>
                  <a:pt x="696" y="308"/>
                </a:lnTo>
                <a:lnTo>
                  <a:pt x="689" y="302"/>
                </a:lnTo>
                <a:lnTo>
                  <a:pt x="681" y="296"/>
                </a:lnTo>
                <a:lnTo>
                  <a:pt x="687" y="289"/>
                </a:lnTo>
                <a:lnTo>
                  <a:pt x="691" y="280"/>
                </a:lnTo>
                <a:lnTo>
                  <a:pt x="694" y="271"/>
                </a:lnTo>
                <a:lnTo>
                  <a:pt x="696" y="262"/>
                </a:lnTo>
                <a:lnTo>
                  <a:pt x="696" y="252"/>
                </a:lnTo>
                <a:lnTo>
                  <a:pt x="696" y="243"/>
                </a:lnTo>
                <a:lnTo>
                  <a:pt x="694" y="233"/>
                </a:lnTo>
                <a:lnTo>
                  <a:pt x="692" y="223"/>
                </a:lnTo>
                <a:lnTo>
                  <a:pt x="688" y="215"/>
                </a:lnTo>
                <a:lnTo>
                  <a:pt x="682" y="207"/>
                </a:lnTo>
                <a:lnTo>
                  <a:pt x="675" y="199"/>
                </a:lnTo>
                <a:lnTo>
                  <a:pt x="668" y="193"/>
                </a:lnTo>
                <a:lnTo>
                  <a:pt x="660" y="188"/>
                </a:lnTo>
                <a:lnTo>
                  <a:pt x="651" y="184"/>
                </a:lnTo>
                <a:lnTo>
                  <a:pt x="641" y="180"/>
                </a:lnTo>
                <a:lnTo>
                  <a:pt x="631" y="179"/>
                </a:lnTo>
                <a:lnTo>
                  <a:pt x="634" y="169"/>
                </a:lnTo>
                <a:lnTo>
                  <a:pt x="635" y="161"/>
                </a:lnTo>
                <a:lnTo>
                  <a:pt x="635" y="151"/>
                </a:lnTo>
                <a:lnTo>
                  <a:pt x="632" y="141"/>
                </a:lnTo>
                <a:lnTo>
                  <a:pt x="630" y="131"/>
                </a:lnTo>
                <a:lnTo>
                  <a:pt x="626" y="122"/>
                </a:lnTo>
                <a:lnTo>
                  <a:pt x="620" y="114"/>
                </a:lnTo>
                <a:lnTo>
                  <a:pt x="614" y="106"/>
                </a:lnTo>
                <a:lnTo>
                  <a:pt x="608" y="102"/>
                </a:lnTo>
                <a:lnTo>
                  <a:pt x="603" y="98"/>
                </a:lnTo>
                <a:lnTo>
                  <a:pt x="597" y="94"/>
                </a:lnTo>
                <a:lnTo>
                  <a:pt x="590" y="91"/>
                </a:lnTo>
                <a:lnTo>
                  <a:pt x="584" y="89"/>
                </a:lnTo>
                <a:lnTo>
                  <a:pt x="577" y="88"/>
                </a:lnTo>
                <a:lnTo>
                  <a:pt x="569" y="87"/>
                </a:lnTo>
                <a:lnTo>
                  <a:pt x="563" y="85"/>
                </a:lnTo>
                <a:lnTo>
                  <a:pt x="552" y="87"/>
                </a:lnTo>
                <a:lnTo>
                  <a:pt x="542" y="89"/>
                </a:lnTo>
                <a:lnTo>
                  <a:pt x="540" y="79"/>
                </a:lnTo>
                <a:lnTo>
                  <a:pt x="536" y="70"/>
                </a:lnTo>
                <a:lnTo>
                  <a:pt x="533" y="61"/>
                </a:lnTo>
                <a:lnTo>
                  <a:pt x="528" y="53"/>
                </a:lnTo>
                <a:lnTo>
                  <a:pt x="522" y="46"/>
                </a:lnTo>
                <a:lnTo>
                  <a:pt x="514" y="39"/>
                </a:lnTo>
                <a:lnTo>
                  <a:pt x="507" y="34"/>
                </a:lnTo>
                <a:lnTo>
                  <a:pt x="497" y="28"/>
                </a:lnTo>
                <a:lnTo>
                  <a:pt x="488" y="26"/>
                </a:lnTo>
                <a:lnTo>
                  <a:pt x="478" y="24"/>
                </a:lnTo>
                <a:lnTo>
                  <a:pt x="468" y="24"/>
                </a:lnTo>
                <a:lnTo>
                  <a:pt x="458" y="25"/>
                </a:lnTo>
                <a:lnTo>
                  <a:pt x="449" y="27"/>
                </a:lnTo>
                <a:lnTo>
                  <a:pt x="440" y="29"/>
                </a:lnTo>
                <a:lnTo>
                  <a:pt x="431" y="34"/>
                </a:lnTo>
                <a:lnTo>
                  <a:pt x="424" y="39"/>
                </a:lnTo>
                <a:lnTo>
                  <a:pt x="418" y="31"/>
                </a:lnTo>
                <a:lnTo>
                  <a:pt x="412" y="24"/>
                </a:lnTo>
                <a:lnTo>
                  <a:pt x="405" y="17"/>
                </a:lnTo>
                <a:lnTo>
                  <a:pt x="397" y="11"/>
                </a:lnTo>
                <a:lnTo>
                  <a:pt x="388" y="7"/>
                </a:lnTo>
                <a:lnTo>
                  <a:pt x="380" y="4"/>
                </a:lnTo>
                <a:lnTo>
                  <a:pt x="370" y="2"/>
                </a:lnTo>
                <a:lnTo>
                  <a:pt x="360" y="0"/>
                </a:lnTo>
                <a:lnTo>
                  <a:pt x="350" y="2"/>
                </a:lnTo>
                <a:lnTo>
                  <a:pt x="340" y="4"/>
                </a:lnTo>
                <a:lnTo>
                  <a:pt x="331" y="7"/>
                </a:lnTo>
                <a:lnTo>
                  <a:pt x="322" y="11"/>
                </a:lnTo>
                <a:lnTo>
                  <a:pt x="314" y="17"/>
                </a:lnTo>
                <a:lnTo>
                  <a:pt x="307" y="24"/>
                </a:lnTo>
                <a:lnTo>
                  <a:pt x="301" y="31"/>
                </a:lnTo>
                <a:lnTo>
                  <a:pt x="296" y="39"/>
                </a:lnTo>
                <a:lnTo>
                  <a:pt x="288" y="34"/>
                </a:lnTo>
                <a:lnTo>
                  <a:pt x="279" y="29"/>
                </a:lnTo>
                <a:lnTo>
                  <a:pt x="270" y="27"/>
                </a:lnTo>
                <a:lnTo>
                  <a:pt x="260" y="25"/>
                </a:lnTo>
                <a:lnTo>
                  <a:pt x="251" y="24"/>
                </a:lnTo>
                <a:lnTo>
                  <a:pt x="242" y="24"/>
                </a:lnTo>
                <a:lnTo>
                  <a:pt x="232" y="26"/>
                </a:lnTo>
                <a:lnTo>
                  <a:pt x="222" y="28"/>
                </a:lnTo>
                <a:lnTo>
                  <a:pt x="213" y="34"/>
                </a:lnTo>
                <a:lnTo>
                  <a:pt x="205" y="39"/>
                </a:lnTo>
                <a:lnTo>
                  <a:pt x="197" y="46"/>
                </a:lnTo>
                <a:lnTo>
                  <a:pt x="192" y="52"/>
                </a:lnTo>
                <a:lnTo>
                  <a:pt x="186" y="61"/>
                </a:lnTo>
                <a:lnTo>
                  <a:pt x="182" y="69"/>
                </a:lnTo>
                <a:lnTo>
                  <a:pt x="180" y="79"/>
                </a:lnTo>
                <a:lnTo>
                  <a:pt x="177" y="89"/>
                </a:lnTo>
                <a:lnTo>
                  <a:pt x="168" y="87"/>
                </a:lnTo>
                <a:lnTo>
                  <a:pt x="156" y="85"/>
                </a:lnTo>
                <a:lnTo>
                  <a:pt x="149" y="87"/>
                </a:lnTo>
                <a:lnTo>
                  <a:pt x="142" y="88"/>
                </a:lnTo>
                <a:lnTo>
                  <a:pt x="135" y="89"/>
                </a:lnTo>
                <a:lnTo>
                  <a:pt x="129" y="91"/>
                </a:lnTo>
                <a:lnTo>
                  <a:pt x="122" y="94"/>
                </a:lnTo>
                <a:lnTo>
                  <a:pt x="117" y="98"/>
                </a:lnTo>
                <a:lnTo>
                  <a:pt x="111" y="102"/>
                </a:lnTo>
                <a:lnTo>
                  <a:pt x="106" y="106"/>
                </a:lnTo>
                <a:lnTo>
                  <a:pt x="99" y="114"/>
                </a:lnTo>
                <a:lnTo>
                  <a:pt x="94" y="122"/>
                </a:lnTo>
                <a:lnTo>
                  <a:pt x="89" y="131"/>
                </a:lnTo>
                <a:lnTo>
                  <a:pt x="86" y="141"/>
                </a:lnTo>
                <a:lnTo>
                  <a:pt x="85" y="151"/>
                </a:lnTo>
                <a:lnTo>
                  <a:pt x="85" y="161"/>
                </a:lnTo>
                <a:lnTo>
                  <a:pt x="85" y="169"/>
                </a:lnTo>
                <a:lnTo>
                  <a:pt x="87" y="179"/>
                </a:lnTo>
                <a:lnTo>
                  <a:pt x="78" y="180"/>
                </a:lnTo>
                <a:lnTo>
                  <a:pt x="68" y="184"/>
                </a:lnTo>
                <a:lnTo>
                  <a:pt x="59" y="188"/>
                </a:lnTo>
                <a:lnTo>
                  <a:pt x="52" y="193"/>
                </a:lnTo>
                <a:lnTo>
                  <a:pt x="44" y="199"/>
                </a:lnTo>
                <a:lnTo>
                  <a:pt x="37" y="207"/>
                </a:lnTo>
                <a:lnTo>
                  <a:pt x="32" y="215"/>
                </a:lnTo>
                <a:lnTo>
                  <a:pt x="27" y="223"/>
                </a:lnTo>
                <a:lnTo>
                  <a:pt x="24" y="233"/>
                </a:lnTo>
                <a:lnTo>
                  <a:pt x="23" y="243"/>
                </a:lnTo>
                <a:lnTo>
                  <a:pt x="22" y="252"/>
                </a:lnTo>
                <a:lnTo>
                  <a:pt x="23" y="262"/>
                </a:lnTo>
                <a:lnTo>
                  <a:pt x="25" y="271"/>
                </a:lnTo>
                <a:lnTo>
                  <a:pt x="28" y="280"/>
                </a:lnTo>
                <a:lnTo>
                  <a:pt x="33" y="289"/>
                </a:lnTo>
                <a:lnTo>
                  <a:pt x="38" y="296"/>
                </a:lnTo>
                <a:lnTo>
                  <a:pt x="31" y="302"/>
                </a:lnTo>
                <a:lnTo>
                  <a:pt x="23" y="308"/>
                </a:lnTo>
                <a:lnTo>
                  <a:pt x="16" y="315"/>
                </a:lnTo>
                <a:lnTo>
                  <a:pt x="11" y="323"/>
                </a:lnTo>
                <a:lnTo>
                  <a:pt x="6" y="332"/>
                </a:lnTo>
                <a:lnTo>
                  <a:pt x="3" y="341"/>
                </a:lnTo>
                <a:lnTo>
                  <a:pt x="1" y="350"/>
                </a:lnTo>
                <a:lnTo>
                  <a:pt x="0" y="360"/>
                </a:lnTo>
                <a:lnTo>
                  <a:pt x="1" y="370"/>
                </a:lnTo>
                <a:lnTo>
                  <a:pt x="3" y="380"/>
                </a:lnTo>
                <a:lnTo>
                  <a:pt x="6" y="389"/>
                </a:lnTo>
                <a:lnTo>
                  <a:pt x="11" y="398"/>
                </a:lnTo>
                <a:lnTo>
                  <a:pt x="16" y="406"/>
                </a:lnTo>
                <a:lnTo>
                  <a:pt x="23" y="413"/>
                </a:lnTo>
                <a:lnTo>
                  <a:pt x="31" y="420"/>
                </a:lnTo>
                <a:lnTo>
                  <a:pt x="38" y="424"/>
                </a:lnTo>
                <a:lnTo>
                  <a:pt x="33" y="433"/>
                </a:lnTo>
                <a:lnTo>
                  <a:pt x="28" y="441"/>
                </a:lnTo>
                <a:lnTo>
                  <a:pt x="25" y="450"/>
                </a:lnTo>
                <a:lnTo>
                  <a:pt x="23" y="460"/>
                </a:lnTo>
                <a:lnTo>
                  <a:pt x="22" y="470"/>
                </a:lnTo>
                <a:lnTo>
                  <a:pt x="23" y="479"/>
                </a:lnTo>
                <a:lnTo>
                  <a:pt x="24" y="488"/>
                </a:lnTo>
                <a:lnTo>
                  <a:pt x="27" y="498"/>
                </a:lnTo>
                <a:lnTo>
                  <a:pt x="32" y="507"/>
                </a:lnTo>
                <a:lnTo>
                  <a:pt x="37" y="515"/>
                </a:lnTo>
                <a:lnTo>
                  <a:pt x="44" y="523"/>
                </a:lnTo>
                <a:lnTo>
                  <a:pt x="52" y="528"/>
                </a:lnTo>
                <a:lnTo>
                  <a:pt x="59" y="534"/>
                </a:lnTo>
                <a:lnTo>
                  <a:pt x="68" y="538"/>
                </a:lnTo>
                <a:lnTo>
                  <a:pt x="78" y="540"/>
                </a:lnTo>
                <a:lnTo>
                  <a:pt x="87" y="543"/>
                </a:lnTo>
                <a:lnTo>
                  <a:pt x="85" y="551"/>
                </a:lnTo>
                <a:lnTo>
                  <a:pt x="85" y="561"/>
                </a:lnTo>
                <a:lnTo>
                  <a:pt x="85" y="571"/>
                </a:lnTo>
                <a:lnTo>
                  <a:pt x="86" y="580"/>
                </a:lnTo>
                <a:lnTo>
                  <a:pt x="89" y="590"/>
                </a:lnTo>
                <a:lnTo>
                  <a:pt x="94" y="599"/>
                </a:lnTo>
                <a:lnTo>
                  <a:pt x="99" y="608"/>
                </a:lnTo>
                <a:lnTo>
                  <a:pt x="106" y="615"/>
                </a:lnTo>
                <a:lnTo>
                  <a:pt x="111" y="620"/>
                </a:lnTo>
                <a:lnTo>
                  <a:pt x="117" y="624"/>
                </a:lnTo>
                <a:lnTo>
                  <a:pt x="122" y="628"/>
                </a:lnTo>
                <a:lnTo>
                  <a:pt x="129" y="631"/>
                </a:lnTo>
                <a:lnTo>
                  <a:pt x="135" y="633"/>
                </a:lnTo>
                <a:lnTo>
                  <a:pt x="142" y="634"/>
                </a:lnTo>
                <a:lnTo>
                  <a:pt x="149" y="635"/>
                </a:lnTo>
                <a:lnTo>
                  <a:pt x="156" y="635"/>
                </a:lnTo>
                <a:lnTo>
                  <a:pt x="168" y="635"/>
                </a:lnTo>
                <a:lnTo>
                  <a:pt x="177" y="633"/>
                </a:lnTo>
                <a:lnTo>
                  <a:pt x="180" y="643"/>
                </a:lnTo>
                <a:lnTo>
                  <a:pt x="182" y="652"/>
                </a:lnTo>
                <a:lnTo>
                  <a:pt x="186" y="661"/>
                </a:lnTo>
                <a:lnTo>
                  <a:pt x="192" y="668"/>
                </a:lnTo>
                <a:lnTo>
                  <a:pt x="197" y="676"/>
                </a:lnTo>
                <a:lnTo>
                  <a:pt x="205" y="683"/>
                </a:lnTo>
                <a:lnTo>
                  <a:pt x="213" y="688"/>
                </a:lnTo>
                <a:lnTo>
                  <a:pt x="222" y="693"/>
                </a:lnTo>
                <a:lnTo>
                  <a:pt x="232" y="696"/>
                </a:lnTo>
                <a:lnTo>
                  <a:pt x="242" y="698"/>
                </a:lnTo>
                <a:lnTo>
                  <a:pt x="251" y="698"/>
                </a:lnTo>
                <a:lnTo>
                  <a:pt x="260" y="697"/>
                </a:lnTo>
                <a:lnTo>
                  <a:pt x="270" y="695"/>
                </a:lnTo>
                <a:lnTo>
                  <a:pt x="279" y="692"/>
                </a:lnTo>
                <a:lnTo>
                  <a:pt x="288" y="687"/>
                </a:lnTo>
                <a:lnTo>
                  <a:pt x="296" y="682"/>
                </a:lnTo>
                <a:lnTo>
                  <a:pt x="301" y="689"/>
                </a:lnTo>
                <a:lnTo>
                  <a:pt x="307" y="697"/>
                </a:lnTo>
                <a:lnTo>
                  <a:pt x="314" y="704"/>
                </a:lnTo>
                <a:lnTo>
                  <a:pt x="322" y="709"/>
                </a:lnTo>
                <a:lnTo>
                  <a:pt x="331" y="714"/>
                </a:lnTo>
                <a:lnTo>
                  <a:pt x="340" y="717"/>
                </a:lnTo>
                <a:lnTo>
                  <a:pt x="350" y="719"/>
                </a:lnTo>
                <a:lnTo>
                  <a:pt x="360" y="719"/>
                </a:lnTo>
                <a:lnTo>
                  <a:pt x="370" y="719"/>
                </a:lnTo>
                <a:lnTo>
                  <a:pt x="380" y="717"/>
                </a:lnTo>
                <a:lnTo>
                  <a:pt x="388" y="714"/>
                </a:lnTo>
                <a:lnTo>
                  <a:pt x="397" y="709"/>
                </a:lnTo>
                <a:lnTo>
                  <a:pt x="405" y="704"/>
                </a:lnTo>
                <a:lnTo>
                  <a:pt x="412" y="697"/>
                </a:lnTo>
                <a:lnTo>
                  <a:pt x="418" y="689"/>
                </a:lnTo>
                <a:lnTo>
                  <a:pt x="424" y="682"/>
                </a:lnTo>
                <a:lnTo>
                  <a:pt x="431" y="687"/>
                </a:lnTo>
                <a:lnTo>
                  <a:pt x="440" y="692"/>
                </a:lnTo>
                <a:lnTo>
                  <a:pt x="449" y="695"/>
                </a:lnTo>
                <a:lnTo>
                  <a:pt x="458" y="697"/>
                </a:lnTo>
                <a:lnTo>
                  <a:pt x="468" y="698"/>
                </a:lnTo>
                <a:lnTo>
                  <a:pt x="478" y="698"/>
                </a:lnTo>
                <a:lnTo>
                  <a:pt x="488" y="696"/>
                </a:lnTo>
                <a:lnTo>
                  <a:pt x="497" y="693"/>
                </a:lnTo>
                <a:lnTo>
                  <a:pt x="507" y="688"/>
                </a:lnTo>
                <a:lnTo>
                  <a:pt x="514" y="683"/>
                </a:lnTo>
                <a:lnTo>
                  <a:pt x="522" y="676"/>
                </a:lnTo>
                <a:lnTo>
                  <a:pt x="528" y="668"/>
                </a:lnTo>
                <a:lnTo>
                  <a:pt x="533" y="661"/>
                </a:lnTo>
                <a:lnTo>
                  <a:pt x="536" y="652"/>
                </a:lnTo>
                <a:lnTo>
                  <a:pt x="540" y="643"/>
                </a:lnTo>
                <a:lnTo>
                  <a:pt x="541" y="633"/>
                </a:lnTo>
                <a:lnTo>
                  <a:pt x="552" y="635"/>
                </a:lnTo>
                <a:lnTo>
                  <a:pt x="563" y="635"/>
                </a:lnTo>
                <a:lnTo>
                  <a:pt x="569" y="635"/>
                </a:lnTo>
                <a:lnTo>
                  <a:pt x="577" y="634"/>
                </a:lnTo>
                <a:lnTo>
                  <a:pt x="584" y="633"/>
                </a:lnTo>
                <a:lnTo>
                  <a:pt x="590" y="631"/>
                </a:lnTo>
                <a:lnTo>
                  <a:pt x="597" y="628"/>
                </a:lnTo>
                <a:lnTo>
                  <a:pt x="603" y="624"/>
                </a:lnTo>
                <a:lnTo>
                  <a:pt x="608" y="620"/>
                </a:lnTo>
                <a:lnTo>
                  <a:pt x="614" y="615"/>
                </a:lnTo>
                <a:lnTo>
                  <a:pt x="620" y="608"/>
                </a:lnTo>
                <a:lnTo>
                  <a:pt x="626" y="599"/>
                </a:lnTo>
                <a:lnTo>
                  <a:pt x="630" y="590"/>
                </a:lnTo>
                <a:lnTo>
                  <a:pt x="632" y="580"/>
                </a:lnTo>
                <a:lnTo>
                  <a:pt x="635" y="571"/>
                </a:lnTo>
                <a:lnTo>
                  <a:pt x="635" y="561"/>
                </a:lnTo>
                <a:lnTo>
                  <a:pt x="634" y="551"/>
                </a:lnTo>
                <a:lnTo>
                  <a:pt x="631" y="543"/>
                </a:lnTo>
                <a:lnTo>
                  <a:pt x="641" y="540"/>
                </a:lnTo>
                <a:lnTo>
                  <a:pt x="651" y="538"/>
                </a:lnTo>
                <a:lnTo>
                  <a:pt x="660" y="534"/>
                </a:lnTo>
                <a:lnTo>
                  <a:pt x="668" y="528"/>
                </a:lnTo>
                <a:lnTo>
                  <a:pt x="675" y="523"/>
                </a:lnTo>
                <a:lnTo>
                  <a:pt x="682" y="515"/>
                </a:lnTo>
                <a:lnTo>
                  <a:pt x="688" y="507"/>
                </a:lnTo>
                <a:lnTo>
                  <a:pt x="692" y="498"/>
                </a:lnTo>
                <a:lnTo>
                  <a:pt x="694" y="488"/>
                </a:lnTo>
                <a:lnTo>
                  <a:pt x="696" y="479"/>
                </a:lnTo>
                <a:lnTo>
                  <a:pt x="698" y="470"/>
                </a:lnTo>
                <a:lnTo>
                  <a:pt x="696" y="460"/>
                </a:lnTo>
                <a:lnTo>
                  <a:pt x="694" y="450"/>
                </a:lnTo>
                <a:lnTo>
                  <a:pt x="691" y="441"/>
                </a:lnTo>
                <a:lnTo>
                  <a:pt x="687" y="433"/>
                </a:lnTo>
                <a:lnTo>
                  <a:pt x="681" y="424"/>
                </a:lnTo>
                <a:lnTo>
                  <a:pt x="689" y="420"/>
                </a:lnTo>
                <a:lnTo>
                  <a:pt x="696" y="413"/>
                </a:lnTo>
                <a:lnTo>
                  <a:pt x="703" y="406"/>
                </a:lnTo>
                <a:lnTo>
                  <a:pt x="709" y="398"/>
                </a:lnTo>
                <a:lnTo>
                  <a:pt x="713" y="389"/>
                </a:lnTo>
                <a:lnTo>
                  <a:pt x="716" y="380"/>
                </a:lnTo>
                <a:lnTo>
                  <a:pt x="719" y="370"/>
                </a:lnTo>
                <a:lnTo>
                  <a:pt x="719" y="3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58" name="Freeform 1674">
            <a:extLst>
              <a:ext uri="{FF2B5EF4-FFF2-40B4-BE49-F238E27FC236}">
                <a16:creationId xmlns:a16="http://schemas.microsoft.com/office/drawing/2014/main" id="{867EF568-4ADD-4D9F-92B5-023FABEC4182}"/>
              </a:ext>
            </a:extLst>
          </p:cNvPr>
          <p:cNvSpPr>
            <a:spLocks noEditPoints="1"/>
          </p:cNvSpPr>
          <p:nvPr/>
        </p:nvSpPr>
        <p:spPr bwMode="auto">
          <a:xfrm>
            <a:off x="10842473" y="3324307"/>
            <a:ext cx="418367" cy="418367"/>
          </a:xfrm>
          <a:custGeom>
            <a:avLst/>
            <a:gdLst>
              <a:gd name="T0" fmla="*/ 503 w 718"/>
              <a:gd name="T1" fmla="*/ 505 h 719"/>
              <a:gd name="T2" fmla="*/ 359 w 718"/>
              <a:gd name="T3" fmla="*/ 378 h 719"/>
              <a:gd name="T4" fmla="*/ 215 w 718"/>
              <a:gd name="T5" fmla="*/ 505 h 719"/>
              <a:gd name="T6" fmla="*/ 342 w 718"/>
              <a:gd name="T7" fmla="*/ 360 h 719"/>
              <a:gd name="T8" fmla="*/ 215 w 718"/>
              <a:gd name="T9" fmla="*/ 215 h 719"/>
              <a:gd name="T10" fmla="*/ 359 w 718"/>
              <a:gd name="T11" fmla="*/ 342 h 719"/>
              <a:gd name="T12" fmla="*/ 503 w 718"/>
              <a:gd name="T13" fmla="*/ 215 h 719"/>
              <a:gd name="T14" fmla="*/ 376 w 718"/>
              <a:gd name="T15" fmla="*/ 360 h 719"/>
              <a:gd name="T16" fmla="*/ 712 w 718"/>
              <a:gd name="T17" fmla="*/ 331 h 719"/>
              <a:gd name="T18" fmla="*/ 680 w 718"/>
              <a:gd name="T19" fmla="*/ 296 h 719"/>
              <a:gd name="T20" fmla="*/ 696 w 718"/>
              <a:gd name="T21" fmla="*/ 252 h 719"/>
              <a:gd name="T22" fmla="*/ 681 w 718"/>
              <a:gd name="T23" fmla="*/ 206 h 719"/>
              <a:gd name="T24" fmla="*/ 641 w 718"/>
              <a:gd name="T25" fmla="*/ 180 h 719"/>
              <a:gd name="T26" fmla="*/ 632 w 718"/>
              <a:gd name="T27" fmla="*/ 140 h 719"/>
              <a:gd name="T28" fmla="*/ 608 w 718"/>
              <a:gd name="T29" fmla="*/ 101 h 719"/>
              <a:gd name="T30" fmla="*/ 576 w 718"/>
              <a:gd name="T31" fmla="*/ 86 h 719"/>
              <a:gd name="T32" fmla="*/ 539 w 718"/>
              <a:gd name="T33" fmla="*/ 79 h 719"/>
              <a:gd name="T34" fmla="*/ 514 w 718"/>
              <a:gd name="T35" fmla="*/ 38 h 719"/>
              <a:gd name="T36" fmla="*/ 468 w 718"/>
              <a:gd name="T37" fmla="*/ 23 h 719"/>
              <a:gd name="T38" fmla="*/ 422 w 718"/>
              <a:gd name="T39" fmla="*/ 39 h 719"/>
              <a:gd name="T40" fmla="*/ 388 w 718"/>
              <a:gd name="T41" fmla="*/ 7 h 719"/>
              <a:gd name="T42" fmla="*/ 340 w 718"/>
              <a:gd name="T43" fmla="*/ 3 h 719"/>
              <a:gd name="T44" fmla="*/ 300 w 718"/>
              <a:gd name="T45" fmla="*/ 30 h 719"/>
              <a:gd name="T46" fmla="*/ 260 w 718"/>
              <a:gd name="T47" fmla="*/ 23 h 719"/>
              <a:gd name="T48" fmla="*/ 213 w 718"/>
              <a:gd name="T49" fmla="*/ 32 h 719"/>
              <a:gd name="T50" fmla="*/ 182 w 718"/>
              <a:gd name="T51" fmla="*/ 69 h 719"/>
              <a:gd name="T52" fmla="*/ 149 w 718"/>
              <a:gd name="T53" fmla="*/ 85 h 719"/>
              <a:gd name="T54" fmla="*/ 115 w 718"/>
              <a:gd name="T55" fmla="*/ 97 h 719"/>
              <a:gd name="T56" fmla="*/ 89 w 718"/>
              <a:gd name="T57" fmla="*/ 130 h 719"/>
              <a:gd name="T58" fmla="*/ 87 w 718"/>
              <a:gd name="T59" fmla="*/ 179 h 719"/>
              <a:gd name="T60" fmla="*/ 44 w 718"/>
              <a:gd name="T61" fmla="*/ 199 h 719"/>
              <a:gd name="T62" fmla="*/ 22 w 718"/>
              <a:gd name="T63" fmla="*/ 242 h 719"/>
              <a:gd name="T64" fmla="*/ 33 w 718"/>
              <a:gd name="T65" fmla="*/ 288 h 719"/>
              <a:gd name="T66" fmla="*/ 11 w 718"/>
              <a:gd name="T67" fmla="*/ 323 h 719"/>
              <a:gd name="T68" fmla="*/ 1 w 718"/>
              <a:gd name="T69" fmla="*/ 370 h 719"/>
              <a:gd name="T70" fmla="*/ 23 w 718"/>
              <a:gd name="T71" fmla="*/ 412 h 719"/>
              <a:gd name="T72" fmla="*/ 25 w 718"/>
              <a:gd name="T73" fmla="*/ 450 h 719"/>
              <a:gd name="T74" fmla="*/ 27 w 718"/>
              <a:gd name="T75" fmla="*/ 497 h 719"/>
              <a:gd name="T76" fmla="*/ 59 w 718"/>
              <a:gd name="T77" fmla="*/ 533 h 719"/>
              <a:gd name="T78" fmla="*/ 83 w 718"/>
              <a:gd name="T79" fmla="*/ 561 h 719"/>
              <a:gd name="T80" fmla="*/ 98 w 718"/>
              <a:gd name="T81" fmla="*/ 606 h 719"/>
              <a:gd name="T82" fmla="*/ 129 w 718"/>
              <a:gd name="T83" fmla="*/ 630 h 719"/>
              <a:gd name="T84" fmla="*/ 166 w 718"/>
              <a:gd name="T85" fmla="*/ 634 h 719"/>
              <a:gd name="T86" fmla="*/ 191 w 718"/>
              <a:gd name="T87" fmla="*/ 668 h 719"/>
              <a:gd name="T88" fmla="*/ 231 w 718"/>
              <a:gd name="T89" fmla="*/ 696 h 719"/>
              <a:gd name="T90" fmla="*/ 279 w 718"/>
              <a:gd name="T91" fmla="*/ 691 h 719"/>
              <a:gd name="T92" fmla="*/ 313 w 718"/>
              <a:gd name="T93" fmla="*/ 704 h 719"/>
              <a:gd name="T94" fmla="*/ 359 w 718"/>
              <a:gd name="T95" fmla="*/ 719 h 719"/>
              <a:gd name="T96" fmla="*/ 405 w 718"/>
              <a:gd name="T97" fmla="*/ 704 h 719"/>
              <a:gd name="T98" fmla="*/ 439 w 718"/>
              <a:gd name="T99" fmla="*/ 691 h 719"/>
              <a:gd name="T100" fmla="*/ 486 w 718"/>
              <a:gd name="T101" fmla="*/ 696 h 719"/>
              <a:gd name="T102" fmla="*/ 527 w 718"/>
              <a:gd name="T103" fmla="*/ 668 h 719"/>
              <a:gd name="T104" fmla="*/ 552 w 718"/>
              <a:gd name="T105" fmla="*/ 634 h 719"/>
              <a:gd name="T106" fmla="*/ 589 w 718"/>
              <a:gd name="T107" fmla="*/ 630 h 719"/>
              <a:gd name="T108" fmla="*/ 620 w 718"/>
              <a:gd name="T109" fmla="*/ 606 h 719"/>
              <a:gd name="T110" fmla="*/ 634 w 718"/>
              <a:gd name="T111" fmla="*/ 561 h 719"/>
              <a:gd name="T112" fmla="*/ 659 w 718"/>
              <a:gd name="T113" fmla="*/ 533 h 719"/>
              <a:gd name="T114" fmla="*/ 691 w 718"/>
              <a:gd name="T115" fmla="*/ 497 h 719"/>
              <a:gd name="T116" fmla="*/ 694 w 718"/>
              <a:gd name="T117" fmla="*/ 450 h 719"/>
              <a:gd name="T118" fmla="*/ 695 w 718"/>
              <a:gd name="T119" fmla="*/ 412 h 719"/>
              <a:gd name="T120" fmla="*/ 717 w 718"/>
              <a:gd name="T121" fmla="*/ 37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18" h="719">
                <a:moveTo>
                  <a:pt x="503" y="488"/>
                </a:moveTo>
                <a:lnTo>
                  <a:pt x="506" y="492"/>
                </a:lnTo>
                <a:lnTo>
                  <a:pt x="507" y="496"/>
                </a:lnTo>
                <a:lnTo>
                  <a:pt x="506" y="500"/>
                </a:lnTo>
                <a:lnTo>
                  <a:pt x="503" y="505"/>
                </a:lnTo>
                <a:lnTo>
                  <a:pt x="500" y="507"/>
                </a:lnTo>
                <a:lnTo>
                  <a:pt x="495" y="508"/>
                </a:lnTo>
                <a:lnTo>
                  <a:pt x="491" y="507"/>
                </a:lnTo>
                <a:lnTo>
                  <a:pt x="486" y="505"/>
                </a:lnTo>
                <a:lnTo>
                  <a:pt x="359" y="378"/>
                </a:lnTo>
                <a:lnTo>
                  <a:pt x="231" y="505"/>
                </a:lnTo>
                <a:lnTo>
                  <a:pt x="228" y="507"/>
                </a:lnTo>
                <a:lnTo>
                  <a:pt x="223" y="508"/>
                </a:lnTo>
                <a:lnTo>
                  <a:pt x="218" y="507"/>
                </a:lnTo>
                <a:lnTo>
                  <a:pt x="215" y="505"/>
                </a:lnTo>
                <a:lnTo>
                  <a:pt x="212" y="500"/>
                </a:lnTo>
                <a:lnTo>
                  <a:pt x="212" y="496"/>
                </a:lnTo>
                <a:lnTo>
                  <a:pt x="212" y="492"/>
                </a:lnTo>
                <a:lnTo>
                  <a:pt x="215" y="488"/>
                </a:lnTo>
                <a:lnTo>
                  <a:pt x="342" y="360"/>
                </a:lnTo>
                <a:lnTo>
                  <a:pt x="215" y="233"/>
                </a:lnTo>
                <a:lnTo>
                  <a:pt x="212" y="229"/>
                </a:lnTo>
                <a:lnTo>
                  <a:pt x="212" y="224"/>
                </a:lnTo>
                <a:lnTo>
                  <a:pt x="212" y="220"/>
                </a:lnTo>
                <a:lnTo>
                  <a:pt x="215" y="215"/>
                </a:lnTo>
                <a:lnTo>
                  <a:pt x="218" y="213"/>
                </a:lnTo>
                <a:lnTo>
                  <a:pt x="223" y="212"/>
                </a:lnTo>
                <a:lnTo>
                  <a:pt x="228" y="213"/>
                </a:lnTo>
                <a:lnTo>
                  <a:pt x="231" y="215"/>
                </a:lnTo>
                <a:lnTo>
                  <a:pt x="359" y="342"/>
                </a:lnTo>
                <a:lnTo>
                  <a:pt x="486" y="215"/>
                </a:lnTo>
                <a:lnTo>
                  <a:pt x="491" y="213"/>
                </a:lnTo>
                <a:lnTo>
                  <a:pt x="495" y="212"/>
                </a:lnTo>
                <a:lnTo>
                  <a:pt x="500" y="213"/>
                </a:lnTo>
                <a:lnTo>
                  <a:pt x="503" y="215"/>
                </a:lnTo>
                <a:lnTo>
                  <a:pt x="506" y="220"/>
                </a:lnTo>
                <a:lnTo>
                  <a:pt x="507" y="224"/>
                </a:lnTo>
                <a:lnTo>
                  <a:pt x="506" y="229"/>
                </a:lnTo>
                <a:lnTo>
                  <a:pt x="503" y="233"/>
                </a:lnTo>
                <a:lnTo>
                  <a:pt x="376" y="360"/>
                </a:lnTo>
                <a:lnTo>
                  <a:pt x="503" y="488"/>
                </a:lnTo>
                <a:close/>
                <a:moveTo>
                  <a:pt x="718" y="360"/>
                </a:moveTo>
                <a:lnTo>
                  <a:pt x="717" y="350"/>
                </a:lnTo>
                <a:lnTo>
                  <a:pt x="715" y="340"/>
                </a:lnTo>
                <a:lnTo>
                  <a:pt x="712" y="331"/>
                </a:lnTo>
                <a:lnTo>
                  <a:pt x="707" y="323"/>
                </a:lnTo>
                <a:lnTo>
                  <a:pt x="702" y="315"/>
                </a:lnTo>
                <a:lnTo>
                  <a:pt x="695" y="307"/>
                </a:lnTo>
                <a:lnTo>
                  <a:pt x="689" y="302"/>
                </a:lnTo>
                <a:lnTo>
                  <a:pt x="680" y="296"/>
                </a:lnTo>
                <a:lnTo>
                  <a:pt x="685" y="288"/>
                </a:lnTo>
                <a:lnTo>
                  <a:pt x="690" y="280"/>
                </a:lnTo>
                <a:lnTo>
                  <a:pt x="693" y="271"/>
                </a:lnTo>
                <a:lnTo>
                  <a:pt x="695" y="262"/>
                </a:lnTo>
                <a:lnTo>
                  <a:pt x="696" y="252"/>
                </a:lnTo>
                <a:lnTo>
                  <a:pt x="696" y="242"/>
                </a:lnTo>
                <a:lnTo>
                  <a:pt x="694" y="233"/>
                </a:lnTo>
                <a:lnTo>
                  <a:pt x="691" y="223"/>
                </a:lnTo>
                <a:lnTo>
                  <a:pt x="686" y="214"/>
                </a:lnTo>
                <a:lnTo>
                  <a:pt x="681" y="206"/>
                </a:lnTo>
                <a:lnTo>
                  <a:pt x="674" y="199"/>
                </a:lnTo>
                <a:lnTo>
                  <a:pt x="668" y="192"/>
                </a:lnTo>
                <a:lnTo>
                  <a:pt x="659" y="187"/>
                </a:lnTo>
                <a:lnTo>
                  <a:pt x="650" y="183"/>
                </a:lnTo>
                <a:lnTo>
                  <a:pt x="641" y="180"/>
                </a:lnTo>
                <a:lnTo>
                  <a:pt x="631" y="179"/>
                </a:lnTo>
                <a:lnTo>
                  <a:pt x="633" y="169"/>
                </a:lnTo>
                <a:lnTo>
                  <a:pt x="634" y="159"/>
                </a:lnTo>
                <a:lnTo>
                  <a:pt x="633" y="149"/>
                </a:lnTo>
                <a:lnTo>
                  <a:pt x="632" y="140"/>
                </a:lnTo>
                <a:lnTo>
                  <a:pt x="629" y="130"/>
                </a:lnTo>
                <a:lnTo>
                  <a:pt x="626" y="122"/>
                </a:lnTo>
                <a:lnTo>
                  <a:pt x="620" y="114"/>
                </a:lnTo>
                <a:lnTo>
                  <a:pt x="613" y="106"/>
                </a:lnTo>
                <a:lnTo>
                  <a:pt x="608" y="101"/>
                </a:lnTo>
                <a:lnTo>
                  <a:pt x="602" y="97"/>
                </a:lnTo>
                <a:lnTo>
                  <a:pt x="596" y="94"/>
                </a:lnTo>
                <a:lnTo>
                  <a:pt x="589" y="91"/>
                </a:lnTo>
                <a:lnTo>
                  <a:pt x="583" y="88"/>
                </a:lnTo>
                <a:lnTo>
                  <a:pt x="576" y="86"/>
                </a:lnTo>
                <a:lnTo>
                  <a:pt x="569" y="85"/>
                </a:lnTo>
                <a:lnTo>
                  <a:pt x="562" y="85"/>
                </a:lnTo>
                <a:lnTo>
                  <a:pt x="552" y="85"/>
                </a:lnTo>
                <a:lnTo>
                  <a:pt x="541" y="87"/>
                </a:lnTo>
                <a:lnTo>
                  <a:pt x="539" y="79"/>
                </a:lnTo>
                <a:lnTo>
                  <a:pt x="536" y="70"/>
                </a:lnTo>
                <a:lnTo>
                  <a:pt x="533" y="61"/>
                </a:lnTo>
                <a:lnTo>
                  <a:pt x="527" y="52"/>
                </a:lnTo>
                <a:lnTo>
                  <a:pt x="521" y="45"/>
                </a:lnTo>
                <a:lnTo>
                  <a:pt x="514" y="38"/>
                </a:lnTo>
                <a:lnTo>
                  <a:pt x="505" y="32"/>
                </a:lnTo>
                <a:lnTo>
                  <a:pt x="496" y="28"/>
                </a:lnTo>
                <a:lnTo>
                  <a:pt x="486" y="24"/>
                </a:lnTo>
                <a:lnTo>
                  <a:pt x="478" y="23"/>
                </a:lnTo>
                <a:lnTo>
                  <a:pt x="468" y="23"/>
                </a:lnTo>
                <a:lnTo>
                  <a:pt x="458" y="23"/>
                </a:lnTo>
                <a:lnTo>
                  <a:pt x="448" y="26"/>
                </a:lnTo>
                <a:lnTo>
                  <a:pt x="439" y="29"/>
                </a:lnTo>
                <a:lnTo>
                  <a:pt x="430" y="33"/>
                </a:lnTo>
                <a:lnTo>
                  <a:pt x="422" y="39"/>
                </a:lnTo>
                <a:lnTo>
                  <a:pt x="418" y="30"/>
                </a:lnTo>
                <a:lnTo>
                  <a:pt x="411" y="23"/>
                </a:lnTo>
                <a:lnTo>
                  <a:pt x="405" y="17"/>
                </a:lnTo>
                <a:lnTo>
                  <a:pt x="397" y="11"/>
                </a:lnTo>
                <a:lnTo>
                  <a:pt x="388" y="7"/>
                </a:lnTo>
                <a:lnTo>
                  <a:pt x="378" y="3"/>
                </a:lnTo>
                <a:lnTo>
                  <a:pt x="369" y="1"/>
                </a:lnTo>
                <a:lnTo>
                  <a:pt x="359" y="0"/>
                </a:lnTo>
                <a:lnTo>
                  <a:pt x="348" y="1"/>
                </a:lnTo>
                <a:lnTo>
                  <a:pt x="340" y="3"/>
                </a:lnTo>
                <a:lnTo>
                  <a:pt x="330" y="7"/>
                </a:lnTo>
                <a:lnTo>
                  <a:pt x="322" y="11"/>
                </a:lnTo>
                <a:lnTo>
                  <a:pt x="313" y="17"/>
                </a:lnTo>
                <a:lnTo>
                  <a:pt x="306" y="23"/>
                </a:lnTo>
                <a:lnTo>
                  <a:pt x="300" y="30"/>
                </a:lnTo>
                <a:lnTo>
                  <a:pt x="295" y="39"/>
                </a:lnTo>
                <a:lnTo>
                  <a:pt x="288" y="33"/>
                </a:lnTo>
                <a:lnTo>
                  <a:pt x="279" y="29"/>
                </a:lnTo>
                <a:lnTo>
                  <a:pt x="270" y="26"/>
                </a:lnTo>
                <a:lnTo>
                  <a:pt x="260" y="23"/>
                </a:lnTo>
                <a:lnTo>
                  <a:pt x="250" y="23"/>
                </a:lnTo>
                <a:lnTo>
                  <a:pt x="240" y="23"/>
                </a:lnTo>
                <a:lnTo>
                  <a:pt x="231" y="24"/>
                </a:lnTo>
                <a:lnTo>
                  <a:pt x="221" y="28"/>
                </a:lnTo>
                <a:lnTo>
                  <a:pt x="213" y="32"/>
                </a:lnTo>
                <a:lnTo>
                  <a:pt x="204" y="38"/>
                </a:lnTo>
                <a:lnTo>
                  <a:pt x="197" y="44"/>
                </a:lnTo>
                <a:lnTo>
                  <a:pt x="191" y="52"/>
                </a:lnTo>
                <a:lnTo>
                  <a:pt x="186" y="60"/>
                </a:lnTo>
                <a:lnTo>
                  <a:pt x="182" y="69"/>
                </a:lnTo>
                <a:lnTo>
                  <a:pt x="178" y="79"/>
                </a:lnTo>
                <a:lnTo>
                  <a:pt x="177" y="87"/>
                </a:lnTo>
                <a:lnTo>
                  <a:pt x="166" y="85"/>
                </a:lnTo>
                <a:lnTo>
                  <a:pt x="156" y="85"/>
                </a:lnTo>
                <a:lnTo>
                  <a:pt x="149" y="85"/>
                </a:lnTo>
                <a:lnTo>
                  <a:pt x="142" y="86"/>
                </a:lnTo>
                <a:lnTo>
                  <a:pt x="135" y="88"/>
                </a:lnTo>
                <a:lnTo>
                  <a:pt x="129" y="91"/>
                </a:lnTo>
                <a:lnTo>
                  <a:pt x="122" y="94"/>
                </a:lnTo>
                <a:lnTo>
                  <a:pt x="115" y="97"/>
                </a:lnTo>
                <a:lnTo>
                  <a:pt x="110" y="101"/>
                </a:lnTo>
                <a:lnTo>
                  <a:pt x="104" y="106"/>
                </a:lnTo>
                <a:lnTo>
                  <a:pt x="98" y="114"/>
                </a:lnTo>
                <a:lnTo>
                  <a:pt x="93" y="122"/>
                </a:lnTo>
                <a:lnTo>
                  <a:pt x="89" y="130"/>
                </a:lnTo>
                <a:lnTo>
                  <a:pt x="86" y="140"/>
                </a:lnTo>
                <a:lnTo>
                  <a:pt x="85" y="149"/>
                </a:lnTo>
                <a:lnTo>
                  <a:pt x="83" y="159"/>
                </a:lnTo>
                <a:lnTo>
                  <a:pt x="85" y="169"/>
                </a:lnTo>
                <a:lnTo>
                  <a:pt x="87" y="179"/>
                </a:lnTo>
                <a:lnTo>
                  <a:pt x="77" y="180"/>
                </a:lnTo>
                <a:lnTo>
                  <a:pt x="68" y="183"/>
                </a:lnTo>
                <a:lnTo>
                  <a:pt x="59" y="187"/>
                </a:lnTo>
                <a:lnTo>
                  <a:pt x="51" y="192"/>
                </a:lnTo>
                <a:lnTo>
                  <a:pt x="44" y="199"/>
                </a:lnTo>
                <a:lnTo>
                  <a:pt x="37" y="206"/>
                </a:lnTo>
                <a:lnTo>
                  <a:pt x="32" y="214"/>
                </a:lnTo>
                <a:lnTo>
                  <a:pt x="27" y="223"/>
                </a:lnTo>
                <a:lnTo>
                  <a:pt x="24" y="233"/>
                </a:lnTo>
                <a:lnTo>
                  <a:pt x="22" y="242"/>
                </a:lnTo>
                <a:lnTo>
                  <a:pt x="22" y="252"/>
                </a:lnTo>
                <a:lnTo>
                  <a:pt x="23" y="262"/>
                </a:lnTo>
                <a:lnTo>
                  <a:pt x="25" y="271"/>
                </a:lnTo>
                <a:lnTo>
                  <a:pt x="28" y="280"/>
                </a:lnTo>
                <a:lnTo>
                  <a:pt x="33" y="288"/>
                </a:lnTo>
                <a:lnTo>
                  <a:pt x="38" y="296"/>
                </a:lnTo>
                <a:lnTo>
                  <a:pt x="29" y="302"/>
                </a:lnTo>
                <a:lnTo>
                  <a:pt x="23" y="307"/>
                </a:lnTo>
                <a:lnTo>
                  <a:pt x="16" y="315"/>
                </a:lnTo>
                <a:lnTo>
                  <a:pt x="11" y="323"/>
                </a:lnTo>
                <a:lnTo>
                  <a:pt x="6" y="331"/>
                </a:lnTo>
                <a:lnTo>
                  <a:pt x="3" y="340"/>
                </a:lnTo>
                <a:lnTo>
                  <a:pt x="1" y="350"/>
                </a:lnTo>
                <a:lnTo>
                  <a:pt x="0" y="360"/>
                </a:lnTo>
                <a:lnTo>
                  <a:pt x="1" y="370"/>
                </a:lnTo>
                <a:lnTo>
                  <a:pt x="3" y="380"/>
                </a:lnTo>
                <a:lnTo>
                  <a:pt x="6" y="389"/>
                </a:lnTo>
                <a:lnTo>
                  <a:pt x="11" y="398"/>
                </a:lnTo>
                <a:lnTo>
                  <a:pt x="16" y="405"/>
                </a:lnTo>
                <a:lnTo>
                  <a:pt x="23" y="412"/>
                </a:lnTo>
                <a:lnTo>
                  <a:pt x="29" y="419"/>
                </a:lnTo>
                <a:lnTo>
                  <a:pt x="38" y="424"/>
                </a:lnTo>
                <a:lnTo>
                  <a:pt x="33" y="432"/>
                </a:lnTo>
                <a:lnTo>
                  <a:pt x="28" y="441"/>
                </a:lnTo>
                <a:lnTo>
                  <a:pt x="25" y="450"/>
                </a:lnTo>
                <a:lnTo>
                  <a:pt x="23" y="460"/>
                </a:lnTo>
                <a:lnTo>
                  <a:pt x="22" y="468"/>
                </a:lnTo>
                <a:lnTo>
                  <a:pt x="22" y="478"/>
                </a:lnTo>
                <a:lnTo>
                  <a:pt x="24" y="488"/>
                </a:lnTo>
                <a:lnTo>
                  <a:pt x="27" y="497"/>
                </a:lnTo>
                <a:lnTo>
                  <a:pt x="32" y="506"/>
                </a:lnTo>
                <a:lnTo>
                  <a:pt x="37" y="515"/>
                </a:lnTo>
                <a:lnTo>
                  <a:pt x="44" y="521"/>
                </a:lnTo>
                <a:lnTo>
                  <a:pt x="51" y="528"/>
                </a:lnTo>
                <a:lnTo>
                  <a:pt x="59" y="533"/>
                </a:lnTo>
                <a:lnTo>
                  <a:pt x="68" y="537"/>
                </a:lnTo>
                <a:lnTo>
                  <a:pt x="77" y="540"/>
                </a:lnTo>
                <a:lnTo>
                  <a:pt x="87" y="541"/>
                </a:lnTo>
                <a:lnTo>
                  <a:pt x="85" y="551"/>
                </a:lnTo>
                <a:lnTo>
                  <a:pt x="83" y="561"/>
                </a:lnTo>
                <a:lnTo>
                  <a:pt x="85" y="571"/>
                </a:lnTo>
                <a:lnTo>
                  <a:pt x="86" y="580"/>
                </a:lnTo>
                <a:lnTo>
                  <a:pt x="89" y="590"/>
                </a:lnTo>
                <a:lnTo>
                  <a:pt x="93" y="599"/>
                </a:lnTo>
                <a:lnTo>
                  <a:pt x="98" y="606"/>
                </a:lnTo>
                <a:lnTo>
                  <a:pt x="104" y="615"/>
                </a:lnTo>
                <a:lnTo>
                  <a:pt x="110" y="620"/>
                </a:lnTo>
                <a:lnTo>
                  <a:pt x="115" y="624"/>
                </a:lnTo>
                <a:lnTo>
                  <a:pt x="122" y="627"/>
                </a:lnTo>
                <a:lnTo>
                  <a:pt x="129" y="630"/>
                </a:lnTo>
                <a:lnTo>
                  <a:pt x="135" y="632"/>
                </a:lnTo>
                <a:lnTo>
                  <a:pt x="142" y="634"/>
                </a:lnTo>
                <a:lnTo>
                  <a:pt x="149" y="635"/>
                </a:lnTo>
                <a:lnTo>
                  <a:pt x="156" y="635"/>
                </a:lnTo>
                <a:lnTo>
                  <a:pt x="166" y="634"/>
                </a:lnTo>
                <a:lnTo>
                  <a:pt x="177" y="633"/>
                </a:lnTo>
                <a:lnTo>
                  <a:pt x="178" y="642"/>
                </a:lnTo>
                <a:lnTo>
                  <a:pt x="182" y="652"/>
                </a:lnTo>
                <a:lnTo>
                  <a:pt x="186" y="659"/>
                </a:lnTo>
                <a:lnTo>
                  <a:pt x="191" y="668"/>
                </a:lnTo>
                <a:lnTo>
                  <a:pt x="197" y="676"/>
                </a:lnTo>
                <a:lnTo>
                  <a:pt x="204" y="683"/>
                </a:lnTo>
                <a:lnTo>
                  <a:pt x="213" y="688"/>
                </a:lnTo>
                <a:lnTo>
                  <a:pt x="221" y="692"/>
                </a:lnTo>
                <a:lnTo>
                  <a:pt x="231" y="696"/>
                </a:lnTo>
                <a:lnTo>
                  <a:pt x="240" y="697"/>
                </a:lnTo>
                <a:lnTo>
                  <a:pt x="250" y="698"/>
                </a:lnTo>
                <a:lnTo>
                  <a:pt x="260" y="697"/>
                </a:lnTo>
                <a:lnTo>
                  <a:pt x="270" y="695"/>
                </a:lnTo>
                <a:lnTo>
                  <a:pt x="279" y="691"/>
                </a:lnTo>
                <a:lnTo>
                  <a:pt x="288" y="686"/>
                </a:lnTo>
                <a:lnTo>
                  <a:pt x="295" y="680"/>
                </a:lnTo>
                <a:lnTo>
                  <a:pt x="300" y="689"/>
                </a:lnTo>
                <a:lnTo>
                  <a:pt x="306" y="697"/>
                </a:lnTo>
                <a:lnTo>
                  <a:pt x="313" y="704"/>
                </a:lnTo>
                <a:lnTo>
                  <a:pt x="322" y="709"/>
                </a:lnTo>
                <a:lnTo>
                  <a:pt x="330" y="713"/>
                </a:lnTo>
                <a:lnTo>
                  <a:pt x="340" y="717"/>
                </a:lnTo>
                <a:lnTo>
                  <a:pt x="348" y="718"/>
                </a:lnTo>
                <a:lnTo>
                  <a:pt x="359" y="719"/>
                </a:lnTo>
                <a:lnTo>
                  <a:pt x="369" y="718"/>
                </a:lnTo>
                <a:lnTo>
                  <a:pt x="378" y="717"/>
                </a:lnTo>
                <a:lnTo>
                  <a:pt x="388" y="713"/>
                </a:lnTo>
                <a:lnTo>
                  <a:pt x="397" y="709"/>
                </a:lnTo>
                <a:lnTo>
                  <a:pt x="405" y="704"/>
                </a:lnTo>
                <a:lnTo>
                  <a:pt x="411" y="697"/>
                </a:lnTo>
                <a:lnTo>
                  <a:pt x="418" y="689"/>
                </a:lnTo>
                <a:lnTo>
                  <a:pt x="422" y="680"/>
                </a:lnTo>
                <a:lnTo>
                  <a:pt x="430" y="686"/>
                </a:lnTo>
                <a:lnTo>
                  <a:pt x="439" y="691"/>
                </a:lnTo>
                <a:lnTo>
                  <a:pt x="448" y="695"/>
                </a:lnTo>
                <a:lnTo>
                  <a:pt x="458" y="697"/>
                </a:lnTo>
                <a:lnTo>
                  <a:pt x="468" y="698"/>
                </a:lnTo>
                <a:lnTo>
                  <a:pt x="478" y="697"/>
                </a:lnTo>
                <a:lnTo>
                  <a:pt x="486" y="696"/>
                </a:lnTo>
                <a:lnTo>
                  <a:pt x="496" y="692"/>
                </a:lnTo>
                <a:lnTo>
                  <a:pt x="505" y="688"/>
                </a:lnTo>
                <a:lnTo>
                  <a:pt x="514" y="683"/>
                </a:lnTo>
                <a:lnTo>
                  <a:pt x="521" y="676"/>
                </a:lnTo>
                <a:lnTo>
                  <a:pt x="527" y="668"/>
                </a:lnTo>
                <a:lnTo>
                  <a:pt x="532" y="659"/>
                </a:lnTo>
                <a:lnTo>
                  <a:pt x="536" y="652"/>
                </a:lnTo>
                <a:lnTo>
                  <a:pt x="539" y="642"/>
                </a:lnTo>
                <a:lnTo>
                  <a:pt x="541" y="633"/>
                </a:lnTo>
                <a:lnTo>
                  <a:pt x="552" y="634"/>
                </a:lnTo>
                <a:lnTo>
                  <a:pt x="562" y="635"/>
                </a:lnTo>
                <a:lnTo>
                  <a:pt x="569" y="635"/>
                </a:lnTo>
                <a:lnTo>
                  <a:pt x="576" y="634"/>
                </a:lnTo>
                <a:lnTo>
                  <a:pt x="583" y="632"/>
                </a:lnTo>
                <a:lnTo>
                  <a:pt x="589" y="630"/>
                </a:lnTo>
                <a:lnTo>
                  <a:pt x="596" y="627"/>
                </a:lnTo>
                <a:lnTo>
                  <a:pt x="602" y="624"/>
                </a:lnTo>
                <a:lnTo>
                  <a:pt x="608" y="620"/>
                </a:lnTo>
                <a:lnTo>
                  <a:pt x="613" y="615"/>
                </a:lnTo>
                <a:lnTo>
                  <a:pt x="620" y="606"/>
                </a:lnTo>
                <a:lnTo>
                  <a:pt x="626" y="599"/>
                </a:lnTo>
                <a:lnTo>
                  <a:pt x="629" y="590"/>
                </a:lnTo>
                <a:lnTo>
                  <a:pt x="632" y="580"/>
                </a:lnTo>
                <a:lnTo>
                  <a:pt x="633" y="571"/>
                </a:lnTo>
                <a:lnTo>
                  <a:pt x="634" y="561"/>
                </a:lnTo>
                <a:lnTo>
                  <a:pt x="633" y="551"/>
                </a:lnTo>
                <a:lnTo>
                  <a:pt x="631" y="541"/>
                </a:lnTo>
                <a:lnTo>
                  <a:pt x="641" y="540"/>
                </a:lnTo>
                <a:lnTo>
                  <a:pt x="650" y="537"/>
                </a:lnTo>
                <a:lnTo>
                  <a:pt x="659" y="533"/>
                </a:lnTo>
                <a:lnTo>
                  <a:pt x="668" y="528"/>
                </a:lnTo>
                <a:lnTo>
                  <a:pt x="674" y="521"/>
                </a:lnTo>
                <a:lnTo>
                  <a:pt x="681" y="515"/>
                </a:lnTo>
                <a:lnTo>
                  <a:pt x="686" y="506"/>
                </a:lnTo>
                <a:lnTo>
                  <a:pt x="691" y="497"/>
                </a:lnTo>
                <a:lnTo>
                  <a:pt x="694" y="488"/>
                </a:lnTo>
                <a:lnTo>
                  <a:pt x="696" y="478"/>
                </a:lnTo>
                <a:lnTo>
                  <a:pt x="696" y="468"/>
                </a:lnTo>
                <a:lnTo>
                  <a:pt x="695" y="460"/>
                </a:lnTo>
                <a:lnTo>
                  <a:pt x="694" y="450"/>
                </a:lnTo>
                <a:lnTo>
                  <a:pt x="690" y="441"/>
                </a:lnTo>
                <a:lnTo>
                  <a:pt x="685" y="432"/>
                </a:lnTo>
                <a:lnTo>
                  <a:pt x="680" y="424"/>
                </a:lnTo>
                <a:lnTo>
                  <a:pt x="689" y="419"/>
                </a:lnTo>
                <a:lnTo>
                  <a:pt x="695" y="412"/>
                </a:lnTo>
                <a:lnTo>
                  <a:pt x="702" y="405"/>
                </a:lnTo>
                <a:lnTo>
                  <a:pt x="707" y="398"/>
                </a:lnTo>
                <a:lnTo>
                  <a:pt x="713" y="389"/>
                </a:lnTo>
                <a:lnTo>
                  <a:pt x="715" y="380"/>
                </a:lnTo>
                <a:lnTo>
                  <a:pt x="717" y="370"/>
                </a:lnTo>
                <a:lnTo>
                  <a:pt x="718" y="3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59" name="Freeform 1671">
            <a:extLst>
              <a:ext uri="{FF2B5EF4-FFF2-40B4-BE49-F238E27FC236}">
                <a16:creationId xmlns:a16="http://schemas.microsoft.com/office/drawing/2014/main" id="{E3408CF1-765B-42B6-ABD4-A22C347AD0A2}"/>
              </a:ext>
            </a:extLst>
          </p:cNvPr>
          <p:cNvSpPr>
            <a:spLocks noEditPoints="1"/>
          </p:cNvSpPr>
          <p:nvPr/>
        </p:nvSpPr>
        <p:spPr bwMode="auto">
          <a:xfrm>
            <a:off x="5155681" y="3284289"/>
            <a:ext cx="418367" cy="418367"/>
          </a:xfrm>
          <a:custGeom>
            <a:avLst/>
            <a:gdLst>
              <a:gd name="T0" fmla="*/ 279 w 719"/>
              <a:gd name="T1" fmla="*/ 477 h 719"/>
              <a:gd name="T2" fmla="*/ 197 w 719"/>
              <a:gd name="T3" fmla="*/ 387 h 719"/>
              <a:gd name="T4" fmla="*/ 217 w 719"/>
              <a:gd name="T5" fmla="*/ 382 h 719"/>
              <a:gd name="T6" fmla="*/ 515 w 719"/>
              <a:gd name="T7" fmla="*/ 243 h 719"/>
              <a:gd name="T8" fmla="*/ 519 w 719"/>
              <a:gd name="T9" fmla="*/ 263 h 719"/>
              <a:gd name="T10" fmla="*/ 709 w 719"/>
              <a:gd name="T11" fmla="*/ 323 h 719"/>
              <a:gd name="T12" fmla="*/ 687 w 719"/>
              <a:gd name="T13" fmla="*/ 289 h 719"/>
              <a:gd name="T14" fmla="*/ 696 w 719"/>
              <a:gd name="T15" fmla="*/ 243 h 719"/>
              <a:gd name="T16" fmla="*/ 675 w 719"/>
              <a:gd name="T17" fmla="*/ 199 h 719"/>
              <a:gd name="T18" fmla="*/ 631 w 719"/>
              <a:gd name="T19" fmla="*/ 179 h 719"/>
              <a:gd name="T20" fmla="*/ 630 w 719"/>
              <a:gd name="T21" fmla="*/ 131 h 719"/>
              <a:gd name="T22" fmla="*/ 603 w 719"/>
              <a:gd name="T23" fmla="*/ 98 h 719"/>
              <a:gd name="T24" fmla="*/ 569 w 719"/>
              <a:gd name="T25" fmla="*/ 87 h 719"/>
              <a:gd name="T26" fmla="*/ 536 w 719"/>
              <a:gd name="T27" fmla="*/ 70 h 719"/>
              <a:gd name="T28" fmla="*/ 507 w 719"/>
              <a:gd name="T29" fmla="*/ 34 h 719"/>
              <a:gd name="T30" fmla="*/ 458 w 719"/>
              <a:gd name="T31" fmla="*/ 25 h 719"/>
              <a:gd name="T32" fmla="*/ 418 w 719"/>
              <a:gd name="T33" fmla="*/ 31 h 719"/>
              <a:gd name="T34" fmla="*/ 380 w 719"/>
              <a:gd name="T35" fmla="*/ 4 h 719"/>
              <a:gd name="T36" fmla="*/ 331 w 719"/>
              <a:gd name="T37" fmla="*/ 7 h 719"/>
              <a:gd name="T38" fmla="*/ 296 w 719"/>
              <a:gd name="T39" fmla="*/ 39 h 719"/>
              <a:gd name="T40" fmla="*/ 251 w 719"/>
              <a:gd name="T41" fmla="*/ 24 h 719"/>
              <a:gd name="T42" fmla="*/ 205 w 719"/>
              <a:gd name="T43" fmla="*/ 39 h 719"/>
              <a:gd name="T44" fmla="*/ 180 w 719"/>
              <a:gd name="T45" fmla="*/ 79 h 719"/>
              <a:gd name="T46" fmla="*/ 142 w 719"/>
              <a:gd name="T47" fmla="*/ 88 h 719"/>
              <a:gd name="T48" fmla="*/ 111 w 719"/>
              <a:gd name="T49" fmla="*/ 102 h 719"/>
              <a:gd name="T50" fmla="*/ 86 w 719"/>
              <a:gd name="T51" fmla="*/ 141 h 719"/>
              <a:gd name="T52" fmla="*/ 78 w 719"/>
              <a:gd name="T53" fmla="*/ 180 h 719"/>
              <a:gd name="T54" fmla="*/ 37 w 719"/>
              <a:gd name="T55" fmla="*/ 207 h 719"/>
              <a:gd name="T56" fmla="*/ 22 w 719"/>
              <a:gd name="T57" fmla="*/ 252 h 719"/>
              <a:gd name="T58" fmla="*/ 38 w 719"/>
              <a:gd name="T59" fmla="*/ 296 h 719"/>
              <a:gd name="T60" fmla="*/ 6 w 719"/>
              <a:gd name="T61" fmla="*/ 332 h 719"/>
              <a:gd name="T62" fmla="*/ 3 w 719"/>
              <a:gd name="T63" fmla="*/ 380 h 719"/>
              <a:gd name="T64" fmla="*/ 31 w 719"/>
              <a:gd name="T65" fmla="*/ 420 h 719"/>
              <a:gd name="T66" fmla="*/ 23 w 719"/>
              <a:gd name="T67" fmla="*/ 460 h 719"/>
              <a:gd name="T68" fmla="*/ 32 w 719"/>
              <a:gd name="T69" fmla="*/ 507 h 719"/>
              <a:gd name="T70" fmla="*/ 68 w 719"/>
              <a:gd name="T71" fmla="*/ 538 h 719"/>
              <a:gd name="T72" fmla="*/ 85 w 719"/>
              <a:gd name="T73" fmla="*/ 571 h 719"/>
              <a:gd name="T74" fmla="*/ 106 w 719"/>
              <a:gd name="T75" fmla="*/ 615 h 719"/>
              <a:gd name="T76" fmla="*/ 135 w 719"/>
              <a:gd name="T77" fmla="*/ 633 h 719"/>
              <a:gd name="T78" fmla="*/ 177 w 719"/>
              <a:gd name="T79" fmla="*/ 633 h 719"/>
              <a:gd name="T80" fmla="*/ 197 w 719"/>
              <a:gd name="T81" fmla="*/ 676 h 719"/>
              <a:gd name="T82" fmla="*/ 242 w 719"/>
              <a:gd name="T83" fmla="*/ 698 h 719"/>
              <a:gd name="T84" fmla="*/ 288 w 719"/>
              <a:gd name="T85" fmla="*/ 687 h 719"/>
              <a:gd name="T86" fmla="*/ 322 w 719"/>
              <a:gd name="T87" fmla="*/ 709 h 719"/>
              <a:gd name="T88" fmla="*/ 370 w 719"/>
              <a:gd name="T89" fmla="*/ 719 h 719"/>
              <a:gd name="T90" fmla="*/ 412 w 719"/>
              <a:gd name="T91" fmla="*/ 697 h 719"/>
              <a:gd name="T92" fmla="*/ 449 w 719"/>
              <a:gd name="T93" fmla="*/ 695 h 719"/>
              <a:gd name="T94" fmla="*/ 497 w 719"/>
              <a:gd name="T95" fmla="*/ 693 h 719"/>
              <a:gd name="T96" fmla="*/ 533 w 719"/>
              <a:gd name="T97" fmla="*/ 661 h 719"/>
              <a:gd name="T98" fmla="*/ 563 w 719"/>
              <a:gd name="T99" fmla="*/ 635 h 719"/>
              <a:gd name="T100" fmla="*/ 597 w 719"/>
              <a:gd name="T101" fmla="*/ 628 h 719"/>
              <a:gd name="T102" fmla="*/ 626 w 719"/>
              <a:gd name="T103" fmla="*/ 599 h 719"/>
              <a:gd name="T104" fmla="*/ 634 w 719"/>
              <a:gd name="T105" fmla="*/ 551 h 719"/>
              <a:gd name="T106" fmla="*/ 668 w 719"/>
              <a:gd name="T107" fmla="*/ 528 h 719"/>
              <a:gd name="T108" fmla="*/ 694 w 719"/>
              <a:gd name="T109" fmla="*/ 488 h 719"/>
              <a:gd name="T110" fmla="*/ 691 w 719"/>
              <a:gd name="T111" fmla="*/ 441 h 719"/>
              <a:gd name="T112" fmla="*/ 703 w 719"/>
              <a:gd name="T113" fmla="*/ 406 h 719"/>
              <a:gd name="T114" fmla="*/ 719 w 719"/>
              <a:gd name="T115" fmla="*/ 36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8" y="477"/>
                </a:lnTo>
                <a:lnTo>
                  <a:pt x="285" y="479"/>
                </a:lnTo>
                <a:lnTo>
                  <a:pt x="279" y="477"/>
                </a:lnTo>
                <a:lnTo>
                  <a:pt x="276" y="475"/>
                </a:lnTo>
                <a:lnTo>
                  <a:pt x="200" y="400"/>
                </a:lnTo>
                <a:lnTo>
                  <a:pt x="197" y="396"/>
                </a:lnTo>
                <a:lnTo>
                  <a:pt x="196" y="391"/>
                </a:lnTo>
                <a:lnTo>
                  <a:pt x="197" y="387"/>
                </a:lnTo>
                <a:lnTo>
                  <a:pt x="200" y="382"/>
                </a:lnTo>
                <a:lnTo>
                  <a:pt x="204" y="380"/>
                </a:lnTo>
                <a:lnTo>
                  <a:pt x="208" y="379"/>
                </a:lnTo>
                <a:lnTo>
                  <a:pt x="213" y="380"/>
                </a:lnTo>
                <a:lnTo>
                  <a:pt x="217" y="382"/>
                </a:lnTo>
                <a:lnTo>
                  <a:pt x="285" y="450"/>
                </a:lnTo>
                <a:lnTo>
                  <a:pt x="502" y="247"/>
                </a:lnTo>
                <a:lnTo>
                  <a:pt x="507" y="243"/>
                </a:lnTo>
                <a:lnTo>
                  <a:pt x="511" y="243"/>
                </a:lnTo>
                <a:lnTo>
                  <a:pt x="515" y="243"/>
                </a:lnTo>
                <a:lnTo>
                  <a:pt x="520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19" y="360"/>
                </a:moveTo>
                <a:lnTo>
                  <a:pt x="719" y="350"/>
                </a:lnTo>
                <a:lnTo>
                  <a:pt x="716" y="341"/>
                </a:lnTo>
                <a:lnTo>
                  <a:pt x="713" y="332"/>
                </a:lnTo>
                <a:lnTo>
                  <a:pt x="709" y="323"/>
                </a:lnTo>
                <a:lnTo>
                  <a:pt x="703" y="315"/>
                </a:lnTo>
                <a:lnTo>
                  <a:pt x="696" y="308"/>
                </a:lnTo>
                <a:lnTo>
                  <a:pt x="689" y="302"/>
                </a:lnTo>
                <a:lnTo>
                  <a:pt x="681" y="296"/>
                </a:lnTo>
                <a:lnTo>
                  <a:pt x="687" y="289"/>
                </a:lnTo>
                <a:lnTo>
                  <a:pt x="691" y="280"/>
                </a:lnTo>
                <a:lnTo>
                  <a:pt x="694" y="271"/>
                </a:lnTo>
                <a:lnTo>
                  <a:pt x="696" y="262"/>
                </a:lnTo>
                <a:lnTo>
                  <a:pt x="696" y="252"/>
                </a:lnTo>
                <a:lnTo>
                  <a:pt x="696" y="243"/>
                </a:lnTo>
                <a:lnTo>
                  <a:pt x="694" y="233"/>
                </a:lnTo>
                <a:lnTo>
                  <a:pt x="692" y="223"/>
                </a:lnTo>
                <a:lnTo>
                  <a:pt x="688" y="215"/>
                </a:lnTo>
                <a:lnTo>
                  <a:pt x="682" y="207"/>
                </a:lnTo>
                <a:lnTo>
                  <a:pt x="675" y="199"/>
                </a:lnTo>
                <a:lnTo>
                  <a:pt x="668" y="193"/>
                </a:lnTo>
                <a:lnTo>
                  <a:pt x="660" y="188"/>
                </a:lnTo>
                <a:lnTo>
                  <a:pt x="651" y="184"/>
                </a:lnTo>
                <a:lnTo>
                  <a:pt x="641" y="180"/>
                </a:lnTo>
                <a:lnTo>
                  <a:pt x="631" y="179"/>
                </a:lnTo>
                <a:lnTo>
                  <a:pt x="634" y="169"/>
                </a:lnTo>
                <a:lnTo>
                  <a:pt x="635" y="161"/>
                </a:lnTo>
                <a:lnTo>
                  <a:pt x="635" y="151"/>
                </a:lnTo>
                <a:lnTo>
                  <a:pt x="632" y="141"/>
                </a:lnTo>
                <a:lnTo>
                  <a:pt x="630" y="131"/>
                </a:lnTo>
                <a:lnTo>
                  <a:pt x="626" y="122"/>
                </a:lnTo>
                <a:lnTo>
                  <a:pt x="620" y="114"/>
                </a:lnTo>
                <a:lnTo>
                  <a:pt x="614" y="106"/>
                </a:lnTo>
                <a:lnTo>
                  <a:pt x="608" y="102"/>
                </a:lnTo>
                <a:lnTo>
                  <a:pt x="603" y="98"/>
                </a:lnTo>
                <a:lnTo>
                  <a:pt x="597" y="94"/>
                </a:lnTo>
                <a:lnTo>
                  <a:pt x="590" y="91"/>
                </a:lnTo>
                <a:lnTo>
                  <a:pt x="584" y="89"/>
                </a:lnTo>
                <a:lnTo>
                  <a:pt x="577" y="88"/>
                </a:lnTo>
                <a:lnTo>
                  <a:pt x="569" y="87"/>
                </a:lnTo>
                <a:lnTo>
                  <a:pt x="563" y="85"/>
                </a:lnTo>
                <a:lnTo>
                  <a:pt x="552" y="87"/>
                </a:lnTo>
                <a:lnTo>
                  <a:pt x="542" y="89"/>
                </a:lnTo>
                <a:lnTo>
                  <a:pt x="540" y="79"/>
                </a:lnTo>
                <a:lnTo>
                  <a:pt x="536" y="70"/>
                </a:lnTo>
                <a:lnTo>
                  <a:pt x="533" y="61"/>
                </a:lnTo>
                <a:lnTo>
                  <a:pt x="528" y="53"/>
                </a:lnTo>
                <a:lnTo>
                  <a:pt x="522" y="46"/>
                </a:lnTo>
                <a:lnTo>
                  <a:pt x="514" y="39"/>
                </a:lnTo>
                <a:lnTo>
                  <a:pt x="507" y="34"/>
                </a:lnTo>
                <a:lnTo>
                  <a:pt x="497" y="28"/>
                </a:lnTo>
                <a:lnTo>
                  <a:pt x="488" y="26"/>
                </a:lnTo>
                <a:lnTo>
                  <a:pt x="478" y="24"/>
                </a:lnTo>
                <a:lnTo>
                  <a:pt x="468" y="24"/>
                </a:lnTo>
                <a:lnTo>
                  <a:pt x="458" y="25"/>
                </a:lnTo>
                <a:lnTo>
                  <a:pt x="449" y="27"/>
                </a:lnTo>
                <a:lnTo>
                  <a:pt x="440" y="29"/>
                </a:lnTo>
                <a:lnTo>
                  <a:pt x="431" y="34"/>
                </a:lnTo>
                <a:lnTo>
                  <a:pt x="424" y="39"/>
                </a:lnTo>
                <a:lnTo>
                  <a:pt x="418" y="31"/>
                </a:lnTo>
                <a:lnTo>
                  <a:pt x="412" y="24"/>
                </a:lnTo>
                <a:lnTo>
                  <a:pt x="405" y="17"/>
                </a:lnTo>
                <a:lnTo>
                  <a:pt x="397" y="11"/>
                </a:lnTo>
                <a:lnTo>
                  <a:pt x="388" y="7"/>
                </a:lnTo>
                <a:lnTo>
                  <a:pt x="380" y="4"/>
                </a:lnTo>
                <a:lnTo>
                  <a:pt x="370" y="2"/>
                </a:lnTo>
                <a:lnTo>
                  <a:pt x="360" y="0"/>
                </a:lnTo>
                <a:lnTo>
                  <a:pt x="350" y="2"/>
                </a:lnTo>
                <a:lnTo>
                  <a:pt x="340" y="4"/>
                </a:lnTo>
                <a:lnTo>
                  <a:pt x="331" y="7"/>
                </a:lnTo>
                <a:lnTo>
                  <a:pt x="322" y="11"/>
                </a:lnTo>
                <a:lnTo>
                  <a:pt x="314" y="17"/>
                </a:lnTo>
                <a:lnTo>
                  <a:pt x="307" y="24"/>
                </a:lnTo>
                <a:lnTo>
                  <a:pt x="301" y="31"/>
                </a:lnTo>
                <a:lnTo>
                  <a:pt x="296" y="39"/>
                </a:lnTo>
                <a:lnTo>
                  <a:pt x="288" y="34"/>
                </a:lnTo>
                <a:lnTo>
                  <a:pt x="279" y="29"/>
                </a:lnTo>
                <a:lnTo>
                  <a:pt x="270" y="27"/>
                </a:lnTo>
                <a:lnTo>
                  <a:pt x="260" y="25"/>
                </a:lnTo>
                <a:lnTo>
                  <a:pt x="251" y="24"/>
                </a:lnTo>
                <a:lnTo>
                  <a:pt x="242" y="24"/>
                </a:lnTo>
                <a:lnTo>
                  <a:pt x="232" y="26"/>
                </a:lnTo>
                <a:lnTo>
                  <a:pt x="222" y="28"/>
                </a:lnTo>
                <a:lnTo>
                  <a:pt x="213" y="34"/>
                </a:lnTo>
                <a:lnTo>
                  <a:pt x="205" y="39"/>
                </a:lnTo>
                <a:lnTo>
                  <a:pt x="197" y="46"/>
                </a:lnTo>
                <a:lnTo>
                  <a:pt x="192" y="52"/>
                </a:lnTo>
                <a:lnTo>
                  <a:pt x="186" y="61"/>
                </a:lnTo>
                <a:lnTo>
                  <a:pt x="182" y="69"/>
                </a:lnTo>
                <a:lnTo>
                  <a:pt x="180" y="79"/>
                </a:lnTo>
                <a:lnTo>
                  <a:pt x="177" y="89"/>
                </a:lnTo>
                <a:lnTo>
                  <a:pt x="168" y="87"/>
                </a:lnTo>
                <a:lnTo>
                  <a:pt x="156" y="85"/>
                </a:lnTo>
                <a:lnTo>
                  <a:pt x="149" y="87"/>
                </a:lnTo>
                <a:lnTo>
                  <a:pt x="142" y="88"/>
                </a:lnTo>
                <a:lnTo>
                  <a:pt x="135" y="89"/>
                </a:lnTo>
                <a:lnTo>
                  <a:pt x="129" y="91"/>
                </a:lnTo>
                <a:lnTo>
                  <a:pt x="122" y="94"/>
                </a:lnTo>
                <a:lnTo>
                  <a:pt x="117" y="98"/>
                </a:lnTo>
                <a:lnTo>
                  <a:pt x="111" y="102"/>
                </a:lnTo>
                <a:lnTo>
                  <a:pt x="106" y="106"/>
                </a:lnTo>
                <a:lnTo>
                  <a:pt x="99" y="114"/>
                </a:lnTo>
                <a:lnTo>
                  <a:pt x="94" y="122"/>
                </a:lnTo>
                <a:lnTo>
                  <a:pt x="89" y="131"/>
                </a:lnTo>
                <a:lnTo>
                  <a:pt x="86" y="141"/>
                </a:lnTo>
                <a:lnTo>
                  <a:pt x="85" y="151"/>
                </a:lnTo>
                <a:lnTo>
                  <a:pt x="85" y="161"/>
                </a:lnTo>
                <a:lnTo>
                  <a:pt x="85" y="169"/>
                </a:lnTo>
                <a:lnTo>
                  <a:pt x="87" y="179"/>
                </a:lnTo>
                <a:lnTo>
                  <a:pt x="78" y="180"/>
                </a:lnTo>
                <a:lnTo>
                  <a:pt x="68" y="184"/>
                </a:lnTo>
                <a:lnTo>
                  <a:pt x="59" y="188"/>
                </a:lnTo>
                <a:lnTo>
                  <a:pt x="52" y="193"/>
                </a:lnTo>
                <a:lnTo>
                  <a:pt x="44" y="199"/>
                </a:lnTo>
                <a:lnTo>
                  <a:pt x="37" y="207"/>
                </a:lnTo>
                <a:lnTo>
                  <a:pt x="32" y="215"/>
                </a:lnTo>
                <a:lnTo>
                  <a:pt x="27" y="223"/>
                </a:lnTo>
                <a:lnTo>
                  <a:pt x="24" y="233"/>
                </a:lnTo>
                <a:lnTo>
                  <a:pt x="23" y="243"/>
                </a:lnTo>
                <a:lnTo>
                  <a:pt x="22" y="252"/>
                </a:lnTo>
                <a:lnTo>
                  <a:pt x="23" y="262"/>
                </a:lnTo>
                <a:lnTo>
                  <a:pt x="25" y="271"/>
                </a:lnTo>
                <a:lnTo>
                  <a:pt x="28" y="280"/>
                </a:lnTo>
                <a:lnTo>
                  <a:pt x="33" y="289"/>
                </a:lnTo>
                <a:lnTo>
                  <a:pt x="38" y="296"/>
                </a:lnTo>
                <a:lnTo>
                  <a:pt x="31" y="302"/>
                </a:lnTo>
                <a:lnTo>
                  <a:pt x="23" y="308"/>
                </a:lnTo>
                <a:lnTo>
                  <a:pt x="16" y="315"/>
                </a:lnTo>
                <a:lnTo>
                  <a:pt x="11" y="323"/>
                </a:lnTo>
                <a:lnTo>
                  <a:pt x="6" y="332"/>
                </a:lnTo>
                <a:lnTo>
                  <a:pt x="3" y="341"/>
                </a:lnTo>
                <a:lnTo>
                  <a:pt x="1" y="350"/>
                </a:lnTo>
                <a:lnTo>
                  <a:pt x="0" y="360"/>
                </a:lnTo>
                <a:lnTo>
                  <a:pt x="1" y="370"/>
                </a:lnTo>
                <a:lnTo>
                  <a:pt x="3" y="380"/>
                </a:lnTo>
                <a:lnTo>
                  <a:pt x="6" y="389"/>
                </a:lnTo>
                <a:lnTo>
                  <a:pt x="11" y="398"/>
                </a:lnTo>
                <a:lnTo>
                  <a:pt x="16" y="406"/>
                </a:lnTo>
                <a:lnTo>
                  <a:pt x="23" y="413"/>
                </a:lnTo>
                <a:lnTo>
                  <a:pt x="31" y="420"/>
                </a:lnTo>
                <a:lnTo>
                  <a:pt x="38" y="424"/>
                </a:lnTo>
                <a:lnTo>
                  <a:pt x="33" y="433"/>
                </a:lnTo>
                <a:lnTo>
                  <a:pt x="28" y="441"/>
                </a:lnTo>
                <a:lnTo>
                  <a:pt x="25" y="450"/>
                </a:lnTo>
                <a:lnTo>
                  <a:pt x="23" y="460"/>
                </a:lnTo>
                <a:lnTo>
                  <a:pt x="22" y="470"/>
                </a:lnTo>
                <a:lnTo>
                  <a:pt x="23" y="479"/>
                </a:lnTo>
                <a:lnTo>
                  <a:pt x="24" y="488"/>
                </a:lnTo>
                <a:lnTo>
                  <a:pt x="27" y="498"/>
                </a:lnTo>
                <a:lnTo>
                  <a:pt x="32" y="507"/>
                </a:lnTo>
                <a:lnTo>
                  <a:pt x="37" y="515"/>
                </a:lnTo>
                <a:lnTo>
                  <a:pt x="44" y="523"/>
                </a:lnTo>
                <a:lnTo>
                  <a:pt x="52" y="528"/>
                </a:lnTo>
                <a:lnTo>
                  <a:pt x="59" y="534"/>
                </a:lnTo>
                <a:lnTo>
                  <a:pt x="68" y="538"/>
                </a:lnTo>
                <a:lnTo>
                  <a:pt x="78" y="540"/>
                </a:lnTo>
                <a:lnTo>
                  <a:pt x="87" y="543"/>
                </a:lnTo>
                <a:lnTo>
                  <a:pt x="85" y="551"/>
                </a:lnTo>
                <a:lnTo>
                  <a:pt x="85" y="561"/>
                </a:lnTo>
                <a:lnTo>
                  <a:pt x="85" y="571"/>
                </a:lnTo>
                <a:lnTo>
                  <a:pt x="86" y="580"/>
                </a:lnTo>
                <a:lnTo>
                  <a:pt x="89" y="590"/>
                </a:lnTo>
                <a:lnTo>
                  <a:pt x="94" y="599"/>
                </a:lnTo>
                <a:lnTo>
                  <a:pt x="99" y="608"/>
                </a:lnTo>
                <a:lnTo>
                  <a:pt x="106" y="615"/>
                </a:lnTo>
                <a:lnTo>
                  <a:pt x="111" y="620"/>
                </a:lnTo>
                <a:lnTo>
                  <a:pt x="117" y="624"/>
                </a:lnTo>
                <a:lnTo>
                  <a:pt x="122" y="628"/>
                </a:lnTo>
                <a:lnTo>
                  <a:pt x="129" y="631"/>
                </a:lnTo>
                <a:lnTo>
                  <a:pt x="135" y="633"/>
                </a:lnTo>
                <a:lnTo>
                  <a:pt x="142" y="634"/>
                </a:lnTo>
                <a:lnTo>
                  <a:pt x="149" y="635"/>
                </a:lnTo>
                <a:lnTo>
                  <a:pt x="156" y="635"/>
                </a:lnTo>
                <a:lnTo>
                  <a:pt x="168" y="635"/>
                </a:lnTo>
                <a:lnTo>
                  <a:pt x="177" y="633"/>
                </a:lnTo>
                <a:lnTo>
                  <a:pt x="180" y="643"/>
                </a:lnTo>
                <a:lnTo>
                  <a:pt x="182" y="652"/>
                </a:lnTo>
                <a:lnTo>
                  <a:pt x="186" y="661"/>
                </a:lnTo>
                <a:lnTo>
                  <a:pt x="192" y="668"/>
                </a:lnTo>
                <a:lnTo>
                  <a:pt x="197" y="676"/>
                </a:lnTo>
                <a:lnTo>
                  <a:pt x="205" y="683"/>
                </a:lnTo>
                <a:lnTo>
                  <a:pt x="213" y="688"/>
                </a:lnTo>
                <a:lnTo>
                  <a:pt x="222" y="693"/>
                </a:lnTo>
                <a:lnTo>
                  <a:pt x="232" y="696"/>
                </a:lnTo>
                <a:lnTo>
                  <a:pt x="242" y="698"/>
                </a:lnTo>
                <a:lnTo>
                  <a:pt x="251" y="698"/>
                </a:lnTo>
                <a:lnTo>
                  <a:pt x="260" y="697"/>
                </a:lnTo>
                <a:lnTo>
                  <a:pt x="270" y="695"/>
                </a:lnTo>
                <a:lnTo>
                  <a:pt x="279" y="692"/>
                </a:lnTo>
                <a:lnTo>
                  <a:pt x="288" y="687"/>
                </a:lnTo>
                <a:lnTo>
                  <a:pt x="296" y="682"/>
                </a:lnTo>
                <a:lnTo>
                  <a:pt x="301" y="689"/>
                </a:lnTo>
                <a:lnTo>
                  <a:pt x="307" y="697"/>
                </a:lnTo>
                <a:lnTo>
                  <a:pt x="314" y="704"/>
                </a:lnTo>
                <a:lnTo>
                  <a:pt x="322" y="709"/>
                </a:lnTo>
                <a:lnTo>
                  <a:pt x="331" y="714"/>
                </a:lnTo>
                <a:lnTo>
                  <a:pt x="340" y="717"/>
                </a:lnTo>
                <a:lnTo>
                  <a:pt x="350" y="719"/>
                </a:lnTo>
                <a:lnTo>
                  <a:pt x="360" y="719"/>
                </a:lnTo>
                <a:lnTo>
                  <a:pt x="370" y="719"/>
                </a:lnTo>
                <a:lnTo>
                  <a:pt x="380" y="717"/>
                </a:lnTo>
                <a:lnTo>
                  <a:pt x="388" y="714"/>
                </a:lnTo>
                <a:lnTo>
                  <a:pt x="397" y="709"/>
                </a:lnTo>
                <a:lnTo>
                  <a:pt x="405" y="704"/>
                </a:lnTo>
                <a:lnTo>
                  <a:pt x="412" y="697"/>
                </a:lnTo>
                <a:lnTo>
                  <a:pt x="418" y="689"/>
                </a:lnTo>
                <a:lnTo>
                  <a:pt x="424" y="682"/>
                </a:lnTo>
                <a:lnTo>
                  <a:pt x="431" y="687"/>
                </a:lnTo>
                <a:lnTo>
                  <a:pt x="440" y="692"/>
                </a:lnTo>
                <a:lnTo>
                  <a:pt x="449" y="695"/>
                </a:lnTo>
                <a:lnTo>
                  <a:pt x="458" y="697"/>
                </a:lnTo>
                <a:lnTo>
                  <a:pt x="468" y="698"/>
                </a:lnTo>
                <a:lnTo>
                  <a:pt x="478" y="698"/>
                </a:lnTo>
                <a:lnTo>
                  <a:pt x="488" y="696"/>
                </a:lnTo>
                <a:lnTo>
                  <a:pt x="497" y="693"/>
                </a:lnTo>
                <a:lnTo>
                  <a:pt x="507" y="688"/>
                </a:lnTo>
                <a:lnTo>
                  <a:pt x="514" y="683"/>
                </a:lnTo>
                <a:lnTo>
                  <a:pt x="522" y="676"/>
                </a:lnTo>
                <a:lnTo>
                  <a:pt x="528" y="668"/>
                </a:lnTo>
                <a:lnTo>
                  <a:pt x="533" y="661"/>
                </a:lnTo>
                <a:lnTo>
                  <a:pt x="536" y="652"/>
                </a:lnTo>
                <a:lnTo>
                  <a:pt x="540" y="643"/>
                </a:lnTo>
                <a:lnTo>
                  <a:pt x="541" y="633"/>
                </a:lnTo>
                <a:lnTo>
                  <a:pt x="552" y="635"/>
                </a:lnTo>
                <a:lnTo>
                  <a:pt x="563" y="635"/>
                </a:lnTo>
                <a:lnTo>
                  <a:pt x="569" y="635"/>
                </a:lnTo>
                <a:lnTo>
                  <a:pt x="577" y="634"/>
                </a:lnTo>
                <a:lnTo>
                  <a:pt x="584" y="633"/>
                </a:lnTo>
                <a:lnTo>
                  <a:pt x="590" y="631"/>
                </a:lnTo>
                <a:lnTo>
                  <a:pt x="597" y="628"/>
                </a:lnTo>
                <a:lnTo>
                  <a:pt x="603" y="624"/>
                </a:lnTo>
                <a:lnTo>
                  <a:pt x="608" y="620"/>
                </a:lnTo>
                <a:lnTo>
                  <a:pt x="614" y="615"/>
                </a:lnTo>
                <a:lnTo>
                  <a:pt x="620" y="608"/>
                </a:lnTo>
                <a:lnTo>
                  <a:pt x="626" y="599"/>
                </a:lnTo>
                <a:lnTo>
                  <a:pt x="630" y="590"/>
                </a:lnTo>
                <a:lnTo>
                  <a:pt x="632" y="580"/>
                </a:lnTo>
                <a:lnTo>
                  <a:pt x="635" y="571"/>
                </a:lnTo>
                <a:lnTo>
                  <a:pt x="635" y="561"/>
                </a:lnTo>
                <a:lnTo>
                  <a:pt x="634" y="551"/>
                </a:lnTo>
                <a:lnTo>
                  <a:pt x="631" y="543"/>
                </a:lnTo>
                <a:lnTo>
                  <a:pt x="641" y="540"/>
                </a:lnTo>
                <a:lnTo>
                  <a:pt x="651" y="538"/>
                </a:lnTo>
                <a:lnTo>
                  <a:pt x="660" y="534"/>
                </a:lnTo>
                <a:lnTo>
                  <a:pt x="668" y="528"/>
                </a:lnTo>
                <a:lnTo>
                  <a:pt x="675" y="523"/>
                </a:lnTo>
                <a:lnTo>
                  <a:pt x="682" y="515"/>
                </a:lnTo>
                <a:lnTo>
                  <a:pt x="688" y="507"/>
                </a:lnTo>
                <a:lnTo>
                  <a:pt x="692" y="498"/>
                </a:lnTo>
                <a:lnTo>
                  <a:pt x="694" y="488"/>
                </a:lnTo>
                <a:lnTo>
                  <a:pt x="696" y="479"/>
                </a:lnTo>
                <a:lnTo>
                  <a:pt x="698" y="470"/>
                </a:lnTo>
                <a:lnTo>
                  <a:pt x="696" y="460"/>
                </a:lnTo>
                <a:lnTo>
                  <a:pt x="694" y="450"/>
                </a:lnTo>
                <a:lnTo>
                  <a:pt x="691" y="441"/>
                </a:lnTo>
                <a:lnTo>
                  <a:pt x="687" y="433"/>
                </a:lnTo>
                <a:lnTo>
                  <a:pt x="681" y="424"/>
                </a:lnTo>
                <a:lnTo>
                  <a:pt x="689" y="420"/>
                </a:lnTo>
                <a:lnTo>
                  <a:pt x="696" y="413"/>
                </a:lnTo>
                <a:lnTo>
                  <a:pt x="703" y="406"/>
                </a:lnTo>
                <a:lnTo>
                  <a:pt x="709" y="398"/>
                </a:lnTo>
                <a:lnTo>
                  <a:pt x="713" y="389"/>
                </a:lnTo>
                <a:lnTo>
                  <a:pt x="716" y="380"/>
                </a:lnTo>
                <a:lnTo>
                  <a:pt x="719" y="370"/>
                </a:lnTo>
                <a:lnTo>
                  <a:pt x="719" y="3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60" name="Freeform 1674">
            <a:extLst>
              <a:ext uri="{FF2B5EF4-FFF2-40B4-BE49-F238E27FC236}">
                <a16:creationId xmlns:a16="http://schemas.microsoft.com/office/drawing/2014/main" id="{8BBED6E8-0021-493F-AE82-67B6E480D731}"/>
              </a:ext>
            </a:extLst>
          </p:cNvPr>
          <p:cNvSpPr>
            <a:spLocks noEditPoints="1"/>
          </p:cNvSpPr>
          <p:nvPr/>
        </p:nvSpPr>
        <p:spPr bwMode="auto">
          <a:xfrm>
            <a:off x="10842473" y="1815109"/>
            <a:ext cx="418367" cy="418367"/>
          </a:xfrm>
          <a:custGeom>
            <a:avLst/>
            <a:gdLst>
              <a:gd name="T0" fmla="*/ 503 w 718"/>
              <a:gd name="T1" fmla="*/ 505 h 719"/>
              <a:gd name="T2" fmla="*/ 359 w 718"/>
              <a:gd name="T3" fmla="*/ 378 h 719"/>
              <a:gd name="T4" fmla="*/ 215 w 718"/>
              <a:gd name="T5" fmla="*/ 505 h 719"/>
              <a:gd name="T6" fmla="*/ 342 w 718"/>
              <a:gd name="T7" fmla="*/ 360 h 719"/>
              <a:gd name="T8" fmla="*/ 215 w 718"/>
              <a:gd name="T9" fmla="*/ 215 h 719"/>
              <a:gd name="T10" fmla="*/ 359 w 718"/>
              <a:gd name="T11" fmla="*/ 342 h 719"/>
              <a:gd name="T12" fmla="*/ 503 w 718"/>
              <a:gd name="T13" fmla="*/ 215 h 719"/>
              <a:gd name="T14" fmla="*/ 376 w 718"/>
              <a:gd name="T15" fmla="*/ 360 h 719"/>
              <a:gd name="T16" fmla="*/ 712 w 718"/>
              <a:gd name="T17" fmla="*/ 331 h 719"/>
              <a:gd name="T18" fmla="*/ 680 w 718"/>
              <a:gd name="T19" fmla="*/ 296 h 719"/>
              <a:gd name="T20" fmla="*/ 696 w 718"/>
              <a:gd name="T21" fmla="*/ 252 h 719"/>
              <a:gd name="T22" fmla="*/ 681 w 718"/>
              <a:gd name="T23" fmla="*/ 206 h 719"/>
              <a:gd name="T24" fmla="*/ 641 w 718"/>
              <a:gd name="T25" fmla="*/ 180 h 719"/>
              <a:gd name="T26" fmla="*/ 632 w 718"/>
              <a:gd name="T27" fmla="*/ 140 h 719"/>
              <a:gd name="T28" fmla="*/ 608 w 718"/>
              <a:gd name="T29" fmla="*/ 101 h 719"/>
              <a:gd name="T30" fmla="*/ 576 w 718"/>
              <a:gd name="T31" fmla="*/ 86 h 719"/>
              <a:gd name="T32" fmla="*/ 539 w 718"/>
              <a:gd name="T33" fmla="*/ 79 h 719"/>
              <a:gd name="T34" fmla="*/ 514 w 718"/>
              <a:gd name="T35" fmla="*/ 38 h 719"/>
              <a:gd name="T36" fmla="*/ 468 w 718"/>
              <a:gd name="T37" fmla="*/ 23 h 719"/>
              <a:gd name="T38" fmla="*/ 422 w 718"/>
              <a:gd name="T39" fmla="*/ 39 h 719"/>
              <a:gd name="T40" fmla="*/ 388 w 718"/>
              <a:gd name="T41" fmla="*/ 7 h 719"/>
              <a:gd name="T42" fmla="*/ 340 w 718"/>
              <a:gd name="T43" fmla="*/ 3 h 719"/>
              <a:gd name="T44" fmla="*/ 300 w 718"/>
              <a:gd name="T45" fmla="*/ 30 h 719"/>
              <a:gd name="T46" fmla="*/ 260 w 718"/>
              <a:gd name="T47" fmla="*/ 23 h 719"/>
              <a:gd name="T48" fmla="*/ 213 w 718"/>
              <a:gd name="T49" fmla="*/ 32 h 719"/>
              <a:gd name="T50" fmla="*/ 182 w 718"/>
              <a:gd name="T51" fmla="*/ 69 h 719"/>
              <a:gd name="T52" fmla="*/ 149 w 718"/>
              <a:gd name="T53" fmla="*/ 85 h 719"/>
              <a:gd name="T54" fmla="*/ 115 w 718"/>
              <a:gd name="T55" fmla="*/ 97 h 719"/>
              <a:gd name="T56" fmla="*/ 89 w 718"/>
              <a:gd name="T57" fmla="*/ 130 h 719"/>
              <a:gd name="T58" fmla="*/ 87 w 718"/>
              <a:gd name="T59" fmla="*/ 179 h 719"/>
              <a:gd name="T60" fmla="*/ 44 w 718"/>
              <a:gd name="T61" fmla="*/ 199 h 719"/>
              <a:gd name="T62" fmla="*/ 22 w 718"/>
              <a:gd name="T63" fmla="*/ 242 h 719"/>
              <a:gd name="T64" fmla="*/ 33 w 718"/>
              <a:gd name="T65" fmla="*/ 288 h 719"/>
              <a:gd name="T66" fmla="*/ 11 w 718"/>
              <a:gd name="T67" fmla="*/ 323 h 719"/>
              <a:gd name="T68" fmla="*/ 1 w 718"/>
              <a:gd name="T69" fmla="*/ 370 h 719"/>
              <a:gd name="T70" fmla="*/ 23 w 718"/>
              <a:gd name="T71" fmla="*/ 412 h 719"/>
              <a:gd name="T72" fmla="*/ 25 w 718"/>
              <a:gd name="T73" fmla="*/ 450 h 719"/>
              <a:gd name="T74" fmla="*/ 27 w 718"/>
              <a:gd name="T75" fmla="*/ 497 h 719"/>
              <a:gd name="T76" fmla="*/ 59 w 718"/>
              <a:gd name="T77" fmla="*/ 533 h 719"/>
              <a:gd name="T78" fmla="*/ 83 w 718"/>
              <a:gd name="T79" fmla="*/ 561 h 719"/>
              <a:gd name="T80" fmla="*/ 98 w 718"/>
              <a:gd name="T81" fmla="*/ 606 h 719"/>
              <a:gd name="T82" fmla="*/ 129 w 718"/>
              <a:gd name="T83" fmla="*/ 630 h 719"/>
              <a:gd name="T84" fmla="*/ 166 w 718"/>
              <a:gd name="T85" fmla="*/ 634 h 719"/>
              <a:gd name="T86" fmla="*/ 191 w 718"/>
              <a:gd name="T87" fmla="*/ 668 h 719"/>
              <a:gd name="T88" fmla="*/ 231 w 718"/>
              <a:gd name="T89" fmla="*/ 696 h 719"/>
              <a:gd name="T90" fmla="*/ 279 w 718"/>
              <a:gd name="T91" fmla="*/ 691 h 719"/>
              <a:gd name="T92" fmla="*/ 313 w 718"/>
              <a:gd name="T93" fmla="*/ 704 h 719"/>
              <a:gd name="T94" fmla="*/ 359 w 718"/>
              <a:gd name="T95" fmla="*/ 719 h 719"/>
              <a:gd name="T96" fmla="*/ 405 w 718"/>
              <a:gd name="T97" fmla="*/ 704 h 719"/>
              <a:gd name="T98" fmla="*/ 439 w 718"/>
              <a:gd name="T99" fmla="*/ 691 h 719"/>
              <a:gd name="T100" fmla="*/ 486 w 718"/>
              <a:gd name="T101" fmla="*/ 696 h 719"/>
              <a:gd name="T102" fmla="*/ 527 w 718"/>
              <a:gd name="T103" fmla="*/ 668 h 719"/>
              <a:gd name="T104" fmla="*/ 552 w 718"/>
              <a:gd name="T105" fmla="*/ 634 h 719"/>
              <a:gd name="T106" fmla="*/ 589 w 718"/>
              <a:gd name="T107" fmla="*/ 630 h 719"/>
              <a:gd name="T108" fmla="*/ 620 w 718"/>
              <a:gd name="T109" fmla="*/ 606 h 719"/>
              <a:gd name="T110" fmla="*/ 634 w 718"/>
              <a:gd name="T111" fmla="*/ 561 h 719"/>
              <a:gd name="T112" fmla="*/ 659 w 718"/>
              <a:gd name="T113" fmla="*/ 533 h 719"/>
              <a:gd name="T114" fmla="*/ 691 w 718"/>
              <a:gd name="T115" fmla="*/ 497 h 719"/>
              <a:gd name="T116" fmla="*/ 694 w 718"/>
              <a:gd name="T117" fmla="*/ 450 h 719"/>
              <a:gd name="T118" fmla="*/ 695 w 718"/>
              <a:gd name="T119" fmla="*/ 412 h 719"/>
              <a:gd name="T120" fmla="*/ 717 w 718"/>
              <a:gd name="T121" fmla="*/ 37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18" h="719">
                <a:moveTo>
                  <a:pt x="503" y="488"/>
                </a:moveTo>
                <a:lnTo>
                  <a:pt x="506" y="492"/>
                </a:lnTo>
                <a:lnTo>
                  <a:pt x="507" y="496"/>
                </a:lnTo>
                <a:lnTo>
                  <a:pt x="506" y="500"/>
                </a:lnTo>
                <a:lnTo>
                  <a:pt x="503" y="505"/>
                </a:lnTo>
                <a:lnTo>
                  <a:pt x="500" y="507"/>
                </a:lnTo>
                <a:lnTo>
                  <a:pt x="495" y="508"/>
                </a:lnTo>
                <a:lnTo>
                  <a:pt x="491" y="507"/>
                </a:lnTo>
                <a:lnTo>
                  <a:pt x="486" y="505"/>
                </a:lnTo>
                <a:lnTo>
                  <a:pt x="359" y="378"/>
                </a:lnTo>
                <a:lnTo>
                  <a:pt x="231" y="505"/>
                </a:lnTo>
                <a:lnTo>
                  <a:pt x="228" y="507"/>
                </a:lnTo>
                <a:lnTo>
                  <a:pt x="223" y="508"/>
                </a:lnTo>
                <a:lnTo>
                  <a:pt x="218" y="507"/>
                </a:lnTo>
                <a:lnTo>
                  <a:pt x="215" y="505"/>
                </a:lnTo>
                <a:lnTo>
                  <a:pt x="212" y="500"/>
                </a:lnTo>
                <a:lnTo>
                  <a:pt x="212" y="496"/>
                </a:lnTo>
                <a:lnTo>
                  <a:pt x="212" y="492"/>
                </a:lnTo>
                <a:lnTo>
                  <a:pt x="215" y="488"/>
                </a:lnTo>
                <a:lnTo>
                  <a:pt x="342" y="360"/>
                </a:lnTo>
                <a:lnTo>
                  <a:pt x="215" y="233"/>
                </a:lnTo>
                <a:lnTo>
                  <a:pt x="212" y="229"/>
                </a:lnTo>
                <a:lnTo>
                  <a:pt x="212" y="224"/>
                </a:lnTo>
                <a:lnTo>
                  <a:pt x="212" y="220"/>
                </a:lnTo>
                <a:lnTo>
                  <a:pt x="215" y="215"/>
                </a:lnTo>
                <a:lnTo>
                  <a:pt x="218" y="213"/>
                </a:lnTo>
                <a:lnTo>
                  <a:pt x="223" y="212"/>
                </a:lnTo>
                <a:lnTo>
                  <a:pt x="228" y="213"/>
                </a:lnTo>
                <a:lnTo>
                  <a:pt x="231" y="215"/>
                </a:lnTo>
                <a:lnTo>
                  <a:pt x="359" y="342"/>
                </a:lnTo>
                <a:lnTo>
                  <a:pt x="486" y="215"/>
                </a:lnTo>
                <a:lnTo>
                  <a:pt x="491" y="213"/>
                </a:lnTo>
                <a:lnTo>
                  <a:pt x="495" y="212"/>
                </a:lnTo>
                <a:lnTo>
                  <a:pt x="500" y="213"/>
                </a:lnTo>
                <a:lnTo>
                  <a:pt x="503" y="215"/>
                </a:lnTo>
                <a:lnTo>
                  <a:pt x="506" y="220"/>
                </a:lnTo>
                <a:lnTo>
                  <a:pt x="507" y="224"/>
                </a:lnTo>
                <a:lnTo>
                  <a:pt x="506" y="229"/>
                </a:lnTo>
                <a:lnTo>
                  <a:pt x="503" y="233"/>
                </a:lnTo>
                <a:lnTo>
                  <a:pt x="376" y="360"/>
                </a:lnTo>
                <a:lnTo>
                  <a:pt x="503" y="488"/>
                </a:lnTo>
                <a:close/>
                <a:moveTo>
                  <a:pt x="718" y="360"/>
                </a:moveTo>
                <a:lnTo>
                  <a:pt x="717" y="350"/>
                </a:lnTo>
                <a:lnTo>
                  <a:pt x="715" y="340"/>
                </a:lnTo>
                <a:lnTo>
                  <a:pt x="712" y="331"/>
                </a:lnTo>
                <a:lnTo>
                  <a:pt x="707" y="323"/>
                </a:lnTo>
                <a:lnTo>
                  <a:pt x="702" y="315"/>
                </a:lnTo>
                <a:lnTo>
                  <a:pt x="695" y="307"/>
                </a:lnTo>
                <a:lnTo>
                  <a:pt x="689" y="302"/>
                </a:lnTo>
                <a:lnTo>
                  <a:pt x="680" y="296"/>
                </a:lnTo>
                <a:lnTo>
                  <a:pt x="685" y="288"/>
                </a:lnTo>
                <a:lnTo>
                  <a:pt x="690" y="280"/>
                </a:lnTo>
                <a:lnTo>
                  <a:pt x="693" y="271"/>
                </a:lnTo>
                <a:lnTo>
                  <a:pt x="695" y="262"/>
                </a:lnTo>
                <a:lnTo>
                  <a:pt x="696" y="252"/>
                </a:lnTo>
                <a:lnTo>
                  <a:pt x="696" y="242"/>
                </a:lnTo>
                <a:lnTo>
                  <a:pt x="694" y="233"/>
                </a:lnTo>
                <a:lnTo>
                  <a:pt x="691" y="223"/>
                </a:lnTo>
                <a:lnTo>
                  <a:pt x="686" y="214"/>
                </a:lnTo>
                <a:lnTo>
                  <a:pt x="681" y="206"/>
                </a:lnTo>
                <a:lnTo>
                  <a:pt x="674" y="199"/>
                </a:lnTo>
                <a:lnTo>
                  <a:pt x="668" y="192"/>
                </a:lnTo>
                <a:lnTo>
                  <a:pt x="659" y="187"/>
                </a:lnTo>
                <a:lnTo>
                  <a:pt x="650" y="183"/>
                </a:lnTo>
                <a:lnTo>
                  <a:pt x="641" y="180"/>
                </a:lnTo>
                <a:lnTo>
                  <a:pt x="631" y="179"/>
                </a:lnTo>
                <a:lnTo>
                  <a:pt x="633" y="169"/>
                </a:lnTo>
                <a:lnTo>
                  <a:pt x="634" y="159"/>
                </a:lnTo>
                <a:lnTo>
                  <a:pt x="633" y="149"/>
                </a:lnTo>
                <a:lnTo>
                  <a:pt x="632" y="140"/>
                </a:lnTo>
                <a:lnTo>
                  <a:pt x="629" y="130"/>
                </a:lnTo>
                <a:lnTo>
                  <a:pt x="626" y="122"/>
                </a:lnTo>
                <a:lnTo>
                  <a:pt x="620" y="114"/>
                </a:lnTo>
                <a:lnTo>
                  <a:pt x="613" y="106"/>
                </a:lnTo>
                <a:lnTo>
                  <a:pt x="608" y="101"/>
                </a:lnTo>
                <a:lnTo>
                  <a:pt x="602" y="97"/>
                </a:lnTo>
                <a:lnTo>
                  <a:pt x="596" y="94"/>
                </a:lnTo>
                <a:lnTo>
                  <a:pt x="589" y="91"/>
                </a:lnTo>
                <a:lnTo>
                  <a:pt x="583" y="88"/>
                </a:lnTo>
                <a:lnTo>
                  <a:pt x="576" y="86"/>
                </a:lnTo>
                <a:lnTo>
                  <a:pt x="569" y="85"/>
                </a:lnTo>
                <a:lnTo>
                  <a:pt x="562" y="85"/>
                </a:lnTo>
                <a:lnTo>
                  <a:pt x="552" y="85"/>
                </a:lnTo>
                <a:lnTo>
                  <a:pt x="541" y="87"/>
                </a:lnTo>
                <a:lnTo>
                  <a:pt x="539" y="79"/>
                </a:lnTo>
                <a:lnTo>
                  <a:pt x="536" y="70"/>
                </a:lnTo>
                <a:lnTo>
                  <a:pt x="533" y="61"/>
                </a:lnTo>
                <a:lnTo>
                  <a:pt x="527" y="52"/>
                </a:lnTo>
                <a:lnTo>
                  <a:pt x="521" y="45"/>
                </a:lnTo>
                <a:lnTo>
                  <a:pt x="514" y="38"/>
                </a:lnTo>
                <a:lnTo>
                  <a:pt x="505" y="32"/>
                </a:lnTo>
                <a:lnTo>
                  <a:pt x="496" y="28"/>
                </a:lnTo>
                <a:lnTo>
                  <a:pt x="486" y="24"/>
                </a:lnTo>
                <a:lnTo>
                  <a:pt x="478" y="23"/>
                </a:lnTo>
                <a:lnTo>
                  <a:pt x="468" y="23"/>
                </a:lnTo>
                <a:lnTo>
                  <a:pt x="458" y="23"/>
                </a:lnTo>
                <a:lnTo>
                  <a:pt x="448" y="26"/>
                </a:lnTo>
                <a:lnTo>
                  <a:pt x="439" y="29"/>
                </a:lnTo>
                <a:lnTo>
                  <a:pt x="430" y="33"/>
                </a:lnTo>
                <a:lnTo>
                  <a:pt x="422" y="39"/>
                </a:lnTo>
                <a:lnTo>
                  <a:pt x="418" y="30"/>
                </a:lnTo>
                <a:lnTo>
                  <a:pt x="411" y="23"/>
                </a:lnTo>
                <a:lnTo>
                  <a:pt x="405" y="17"/>
                </a:lnTo>
                <a:lnTo>
                  <a:pt x="397" y="11"/>
                </a:lnTo>
                <a:lnTo>
                  <a:pt x="388" y="7"/>
                </a:lnTo>
                <a:lnTo>
                  <a:pt x="378" y="3"/>
                </a:lnTo>
                <a:lnTo>
                  <a:pt x="369" y="1"/>
                </a:lnTo>
                <a:lnTo>
                  <a:pt x="359" y="0"/>
                </a:lnTo>
                <a:lnTo>
                  <a:pt x="348" y="1"/>
                </a:lnTo>
                <a:lnTo>
                  <a:pt x="340" y="3"/>
                </a:lnTo>
                <a:lnTo>
                  <a:pt x="330" y="7"/>
                </a:lnTo>
                <a:lnTo>
                  <a:pt x="322" y="11"/>
                </a:lnTo>
                <a:lnTo>
                  <a:pt x="313" y="17"/>
                </a:lnTo>
                <a:lnTo>
                  <a:pt x="306" y="23"/>
                </a:lnTo>
                <a:lnTo>
                  <a:pt x="300" y="30"/>
                </a:lnTo>
                <a:lnTo>
                  <a:pt x="295" y="39"/>
                </a:lnTo>
                <a:lnTo>
                  <a:pt x="288" y="33"/>
                </a:lnTo>
                <a:lnTo>
                  <a:pt x="279" y="29"/>
                </a:lnTo>
                <a:lnTo>
                  <a:pt x="270" y="26"/>
                </a:lnTo>
                <a:lnTo>
                  <a:pt x="260" y="23"/>
                </a:lnTo>
                <a:lnTo>
                  <a:pt x="250" y="23"/>
                </a:lnTo>
                <a:lnTo>
                  <a:pt x="240" y="23"/>
                </a:lnTo>
                <a:lnTo>
                  <a:pt x="231" y="24"/>
                </a:lnTo>
                <a:lnTo>
                  <a:pt x="221" y="28"/>
                </a:lnTo>
                <a:lnTo>
                  <a:pt x="213" y="32"/>
                </a:lnTo>
                <a:lnTo>
                  <a:pt x="204" y="38"/>
                </a:lnTo>
                <a:lnTo>
                  <a:pt x="197" y="44"/>
                </a:lnTo>
                <a:lnTo>
                  <a:pt x="191" y="52"/>
                </a:lnTo>
                <a:lnTo>
                  <a:pt x="186" y="60"/>
                </a:lnTo>
                <a:lnTo>
                  <a:pt x="182" y="69"/>
                </a:lnTo>
                <a:lnTo>
                  <a:pt x="178" y="79"/>
                </a:lnTo>
                <a:lnTo>
                  <a:pt x="177" y="87"/>
                </a:lnTo>
                <a:lnTo>
                  <a:pt x="166" y="85"/>
                </a:lnTo>
                <a:lnTo>
                  <a:pt x="156" y="85"/>
                </a:lnTo>
                <a:lnTo>
                  <a:pt x="149" y="85"/>
                </a:lnTo>
                <a:lnTo>
                  <a:pt x="142" y="86"/>
                </a:lnTo>
                <a:lnTo>
                  <a:pt x="135" y="88"/>
                </a:lnTo>
                <a:lnTo>
                  <a:pt x="129" y="91"/>
                </a:lnTo>
                <a:lnTo>
                  <a:pt x="122" y="94"/>
                </a:lnTo>
                <a:lnTo>
                  <a:pt x="115" y="97"/>
                </a:lnTo>
                <a:lnTo>
                  <a:pt x="110" y="101"/>
                </a:lnTo>
                <a:lnTo>
                  <a:pt x="104" y="106"/>
                </a:lnTo>
                <a:lnTo>
                  <a:pt x="98" y="114"/>
                </a:lnTo>
                <a:lnTo>
                  <a:pt x="93" y="122"/>
                </a:lnTo>
                <a:lnTo>
                  <a:pt x="89" y="130"/>
                </a:lnTo>
                <a:lnTo>
                  <a:pt x="86" y="140"/>
                </a:lnTo>
                <a:lnTo>
                  <a:pt x="85" y="149"/>
                </a:lnTo>
                <a:lnTo>
                  <a:pt x="83" y="159"/>
                </a:lnTo>
                <a:lnTo>
                  <a:pt x="85" y="169"/>
                </a:lnTo>
                <a:lnTo>
                  <a:pt x="87" y="179"/>
                </a:lnTo>
                <a:lnTo>
                  <a:pt x="77" y="180"/>
                </a:lnTo>
                <a:lnTo>
                  <a:pt x="68" y="183"/>
                </a:lnTo>
                <a:lnTo>
                  <a:pt x="59" y="187"/>
                </a:lnTo>
                <a:lnTo>
                  <a:pt x="51" y="192"/>
                </a:lnTo>
                <a:lnTo>
                  <a:pt x="44" y="199"/>
                </a:lnTo>
                <a:lnTo>
                  <a:pt x="37" y="206"/>
                </a:lnTo>
                <a:lnTo>
                  <a:pt x="32" y="214"/>
                </a:lnTo>
                <a:lnTo>
                  <a:pt x="27" y="223"/>
                </a:lnTo>
                <a:lnTo>
                  <a:pt x="24" y="233"/>
                </a:lnTo>
                <a:lnTo>
                  <a:pt x="22" y="242"/>
                </a:lnTo>
                <a:lnTo>
                  <a:pt x="22" y="252"/>
                </a:lnTo>
                <a:lnTo>
                  <a:pt x="23" y="262"/>
                </a:lnTo>
                <a:lnTo>
                  <a:pt x="25" y="271"/>
                </a:lnTo>
                <a:lnTo>
                  <a:pt x="28" y="280"/>
                </a:lnTo>
                <a:lnTo>
                  <a:pt x="33" y="288"/>
                </a:lnTo>
                <a:lnTo>
                  <a:pt x="38" y="296"/>
                </a:lnTo>
                <a:lnTo>
                  <a:pt x="29" y="302"/>
                </a:lnTo>
                <a:lnTo>
                  <a:pt x="23" y="307"/>
                </a:lnTo>
                <a:lnTo>
                  <a:pt x="16" y="315"/>
                </a:lnTo>
                <a:lnTo>
                  <a:pt x="11" y="323"/>
                </a:lnTo>
                <a:lnTo>
                  <a:pt x="6" y="331"/>
                </a:lnTo>
                <a:lnTo>
                  <a:pt x="3" y="340"/>
                </a:lnTo>
                <a:lnTo>
                  <a:pt x="1" y="350"/>
                </a:lnTo>
                <a:lnTo>
                  <a:pt x="0" y="360"/>
                </a:lnTo>
                <a:lnTo>
                  <a:pt x="1" y="370"/>
                </a:lnTo>
                <a:lnTo>
                  <a:pt x="3" y="380"/>
                </a:lnTo>
                <a:lnTo>
                  <a:pt x="6" y="389"/>
                </a:lnTo>
                <a:lnTo>
                  <a:pt x="11" y="398"/>
                </a:lnTo>
                <a:lnTo>
                  <a:pt x="16" y="405"/>
                </a:lnTo>
                <a:lnTo>
                  <a:pt x="23" y="412"/>
                </a:lnTo>
                <a:lnTo>
                  <a:pt x="29" y="419"/>
                </a:lnTo>
                <a:lnTo>
                  <a:pt x="38" y="424"/>
                </a:lnTo>
                <a:lnTo>
                  <a:pt x="33" y="432"/>
                </a:lnTo>
                <a:lnTo>
                  <a:pt x="28" y="441"/>
                </a:lnTo>
                <a:lnTo>
                  <a:pt x="25" y="450"/>
                </a:lnTo>
                <a:lnTo>
                  <a:pt x="23" y="460"/>
                </a:lnTo>
                <a:lnTo>
                  <a:pt x="22" y="468"/>
                </a:lnTo>
                <a:lnTo>
                  <a:pt x="22" y="478"/>
                </a:lnTo>
                <a:lnTo>
                  <a:pt x="24" y="488"/>
                </a:lnTo>
                <a:lnTo>
                  <a:pt x="27" y="497"/>
                </a:lnTo>
                <a:lnTo>
                  <a:pt x="32" y="506"/>
                </a:lnTo>
                <a:lnTo>
                  <a:pt x="37" y="515"/>
                </a:lnTo>
                <a:lnTo>
                  <a:pt x="44" y="521"/>
                </a:lnTo>
                <a:lnTo>
                  <a:pt x="51" y="528"/>
                </a:lnTo>
                <a:lnTo>
                  <a:pt x="59" y="533"/>
                </a:lnTo>
                <a:lnTo>
                  <a:pt x="68" y="537"/>
                </a:lnTo>
                <a:lnTo>
                  <a:pt x="77" y="540"/>
                </a:lnTo>
                <a:lnTo>
                  <a:pt x="87" y="541"/>
                </a:lnTo>
                <a:lnTo>
                  <a:pt x="85" y="551"/>
                </a:lnTo>
                <a:lnTo>
                  <a:pt x="83" y="561"/>
                </a:lnTo>
                <a:lnTo>
                  <a:pt x="85" y="571"/>
                </a:lnTo>
                <a:lnTo>
                  <a:pt x="86" y="580"/>
                </a:lnTo>
                <a:lnTo>
                  <a:pt x="89" y="590"/>
                </a:lnTo>
                <a:lnTo>
                  <a:pt x="93" y="599"/>
                </a:lnTo>
                <a:lnTo>
                  <a:pt x="98" y="606"/>
                </a:lnTo>
                <a:lnTo>
                  <a:pt x="104" y="615"/>
                </a:lnTo>
                <a:lnTo>
                  <a:pt x="110" y="620"/>
                </a:lnTo>
                <a:lnTo>
                  <a:pt x="115" y="624"/>
                </a:lnTo>
                <a:lnTo>
                  <a:pt x="122" y="627"/>
                </a:lnTo>
                <a:lnTo>
                  <a:pt x="129" y="630"/>
                </a:lnTo>
                <a:lnTo>
                  <a:pt x="135" y="632"/>
                </a:lnTo>
                <a:lnTo>
                  <a:pt x="142" y="634"/>
                </a:lnTo>
                <a:lnTo>
                  <a:pt x="149" y="635"/>
                </a:lnTo>
                <a:lnTo>
                  <a:pt x="156" y="635"/>
                </a:lnTo>
                <a:lnTo>
                  <a:pt x="166" y="634"/>
                </a:lnTo>
                <a:lnTo>
                  <a:pt x="177" y="633"/>
                </a:lnTo>
                <a:lnTo>
                  <a:pt x="178" y="642"/>
                </a:lnTo>
                <a:lnTo>
                  <a:pt x="182" y="652"/>
                </a:lnTo>
                <a:lnTo>
                  <a:pt x="186" y="659"/>
                </a:lnTo>
                <a:lnTo>
                  <a:pt x="191" y="668"/>
                </a:lnTo>
                <a:lnTo>
                  <a:pt x="197" y="676"/>
                </a:lnTo>
                <a:lnTo>
                  <a:pt x="204" y="683"/>
                </a:lnTo>
                <a:lnTo>
                  <a:pt x="213" y="688"/>
                </a:lnTo>
                <a:lnTo>
                  <a:pt x="221" y="692"/>
                </a:lnTo>
                <a:lnTo>
                  <a:pt x="231" y="696"/>
                </a:lnTo>
                <a:lnTo>
                  <a:pt x="240" y="697"/>
                </a:lnTo>
                <a:lnTo>
                  <a:pt x="250" y="698"/>
                </a:lnTo>
                <a:lnTo>
                  <a:pt x="260" y="697"/>
                </a:lnTo>
                <a:lnTo>
                  <a:pt x="270" y="695"/>
                </a:lnTo>
                <a:lnTo>
                  <a:pt x="279" y="691"/>
                </a:lnTo>
                <a:lnTo>
                  <a:pt x="288" y="686"/>
                </a:lnTo>
                <a:lnTo>
                  <a:pt x="295" y="680"/>
                </a:lnTo>
                <a:lnTo>
                  <a:pt x="300" y="689"/>
                </a:lnTo>
                <a:lnTo>
                  <a:pt x="306" y="697"/>
                </a:lnTo>
                <a:lnTo>
                  <a:pt x="313" y="704"/>
                </a:lnTo>
                <a:lnTo>
                  <a:pt x="322" y="709"/>
                </a:lnTo>
                <a:lnTo>
                  <a:pt x="330" y="713"/>
                </a:lnTo>
                <a:lnTo>
                  <a:pt x="340" y="717"/>
                </a:lnTo>
                <a:lnTo>
                  <a:pt x="348" y="718"/>
                </a:lnTo>
                <a:lnTo>
                  <a:pt x="359" y="719"/>
                </a:lnTo>
                <a:lnTo>
                  <a:pt x="369" y="718"/>
                </a:lnTo>
                <a:lnTo>
                  <a:pt x="378" y="717"/>
                </a:lnTo>
                <a:lnTo>
                  <a:pt x="388" y="713"/>
                </a:lnTo>
                <a:lnTo>
                  <a:pt x="397" y="709"/>
                </a:lnTo>
                <a:lnTo>
                  <a:pt x="405" y="704"/>
                </a:lnTo>
                <a:lnTo>
                  <a:pt x="411" y="697"/>
                </a:lnTo>
                <a:lnTo>
                  <a:pt x="418" y="689"/>
                </a:lnTo>
                <a:lnTo>
                  <a:pt x="422" y="680"/>
                </a:lnTo>
                <a:lnTo>
                  <a:pt x="430" y="686"/>
                </a:lnTo>
                <a:lnTo>
                  <a:pt x="439" y="691"/>
                </a:lnTo>
                <a:lnTo>
                  <a:pt x="448" y="695"/>
                </a:lnTo>
                <a:lnTo>
                  <a:pt x="458" y="697"/>
                </a:lnTo>
                <a:lnTo>
                  <a:pt x="468" y="698"/>
                </a:lnTo>
                <a:lnTo>
                  <a:pt x="478" y="697"/>
                </a:lnTo>
                <a:lnTo>
                  <a:pt x="486" y="696"/>
                </a:lnTo>
                <a:lnTo>
                  <a:pt x="496" y="692"/>
                </a:lnTo>
                <a:lnTo>
                  <a:pt x="505" y="688"/>
                </a:lnTo>
                <a:lnTo>
                  <a:pt x="514" y="683"/>
                </a:lnTo>
                <a:lnTo>
                  <a:pt x="521" y="676"/>
                </a:lnTo>
                <a:lnTo>
                  <a:pt x="527" y="668"/>
                </a:lnTo>
                <a:lnTo>
                  <a:pt x="532" y="659"/>
                </a:lnTo>
                <a:lnTo>
                  <a:pt x="536" y="652"/>
                </a:lnTo>
                <a:lnTo>
                  <a:pt x="539" y="642"/>
                </a:lnTo>
                <a:lnTo>
                  <a:pt x="541" y="633"/>
                </a:lnTo>
                <a:lnTo>
                  <a:pt x="552" y="634"/>
                </a:lnTo>
                <a:lnTo>
                  <a:pt x="562" y="635"/>
                </a:lnTo>
                <a:lnTo>
                  <a:pt x="569" y="635"/>
                </a:lnTo>
                <a:lnTo>
                  <a:pt x="576" y="634"/>
                </a:lnTo>
                <a:lnTo>
                  <a:pt x="583" y="632"/>
                </a:lnTo>
                <a:lnTo>
                  <a:pt x="589" y="630"/>
                </a:lnTo>
                <a:lnTo>
                  <a:pt x="596" y="627"/>
                </a:lnTo>
                <a:lnTo>
                  <a:pt x="602" y="624"/>
                </a:lnTo>
                <a:lnTo>
                  <a:pt x="608" y="620"/>
                </a:lnTo>
                <a:lnTo>
                  <a:pt x="613" y="615"/>
                </a:lnTo>
                <a:lnTo>
                  <a:pt x="620" y="606"/>
                </a:lnTo>
                <a:lnTo>
                  <a:pt x="626" y="599"/>
                </a:lnTo>
                <a:lnTo>
                  <a:pt x="629" y="590"/>
                </a:lnTo>
                <a:lnTo>
                  <a:pt x="632" y="580"/>
                </a:lnTo>
                <a:lnTo>
                  <a:pt x="633" y="571"/>
                </a:lnTo>
                <a:lnTo>
                  <a:pt x="634" y="561"/>
                </a:lnTo>
                <a:lnTo>
                  <a:pt x="633" y="551"/>
                </a:lnTo>
                <a:lnTo>
                  <a:pt x="631" y="541"/>
                </a:lnTo>
                <a:lnTo>
                  <a:pt x="641" y="540"/>
                </a:lnTo>
                <a:lnTo>
                  <a:pt x="650" y="537"/>
                </a:lnTo>
                <a:lnTo>
                  <a:pt x="659" y="533"/>
                </a:lnTo>
                <a:lnTo>
                  <a:pt x="668" y="528"/>
                </a:lnTo>
                <a:lnTo>
                  <a:pt x="674" y="521"/>
                </a:lnTo>
                <a:lnTo>
                  <a:pt x="681" y="515"/>
                </a:lnTo>
                <a:lnTo>
                  <a:pt x="686" y="506"/>
                </a:lnTo>
                <a:lnTo>
                  <a:pt x="691" y="497"/>
                </a:lnTo>
                <a:lnTo>
                  <a:pt x="694" y="488"/>
                </a:lnTo>
                <a:lnTo>
                  <a:pt x="696" y="478"/>
                </a:lnTo>
                <a:lnTo>
                  <a:pt x="696" y="468"/>
                </a:lnTo>
                <a:lnTo>
                  <a:pt x="695" y="460"/>
                </a:lnTo>
                <a:lnTo>
                  <a:pt x="694" y="450"/>
                </a:lnTo>
                <a:lnTo>
                  <a:pt x="690" y="441"/>
                </a:lnTo>
                <a:lnTo>
                  <a:pt x="685" y="432"/>
                </a:lnTo>
                <a:lnTo>
                  <a:pt x="680" y="424"/>
                </a:lnTo>
                <a:lnTo>
                  <a:pt x="689" y="419"/>
                </a:lnTo>
                <a:lnTo>
                  <a:pt x="695" y="412"/>
                </a:lnTo>
                <a:lnTo>
                  <a:pt x="702" y="405"/>
                </a:lnTo>
                <a:lnTo>
                  <a:pt x="707" y="398"/>
                </a:lnTo>
                <a:lnTo>
                  <a:pt x="713" y="389"/>
                </a:lnTo>
                <a:lnTo>
                  <a:pt x="715" y="380"/>
                </a:lnTo>
                <a:lnTo>
                  <a:pt x="717" y="370"/>
                </a:lnTo>
                <a:lnTo>
                  <a:pt x="718" y="3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6748E73-B3C6-4EA2-AF7F-EAC41CDA55FE}"/>
              </a:ext>
            </a:extLst>
          </p:cNvPr>
          <p:cNvSpPr/>
          <p:nvPr/>
        </p:nvSpPr>
        <p:spPr>
          <a:xfrm>
            <a:off x="7141709" y="4581537"/>
            <a:ext cx="2851500" cy="84638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1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Repeat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 classroom instruction that </a:t>
            </a:r>
            <a:r>
              <a:rPr lang="en-US" sz="11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directly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 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enhances </a:t>
            </a:r>
            <a:r>
              <a:rPr lang="en-US" sz="11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leadership development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, collaboration with </a:t>
            </a:r>
            <a:r>
              <a:rPr lang="en-US" sz="11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diverse populations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, and onsite </a:t>
            </a:r>
            <a:r>
              <a:rPr lang="en-US" sz="11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workplace simulations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8055216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76DBC4C-9AD8-450C-8066-EC09A801CD69}"/>
              </a:ext>
            </a:extLst>
          </p:cNvPr>
          <p:cNvSpPr/>
          <p:nvPr/>
        </p:nvSpPr>
        <p:spPr>
          <a:xfrm>
            <a:off x="333829" y="337457"/>
            <a:ext cx="11524342" cy="618308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42C2D4-2319-4124-B35C-620BDC9D3D9B}"/>
              </a:ext>
            </a:extLst>
          </p:cNvPr>
          <p:cNvSpPr txBox="1"/>
          <p:nvPr/>
        </p:nvSpPr>
        <p:spPr>
          <a:xfrm>
            <a:off x="0" y="493667"/>
            <a:ext cx="12192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Extended Learning Opportunity (ELO) Checklist:</a:t>
            </a:r>
          </a:p>
          <a:p>
            <a:pPr algn="ctr"/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What Is Your Responsibility In Implementation?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BC6B285-1192-4505-B6D6-321939A1E06F}"/>
              </a:ext>
            </a:extLst>
          </p:cNvPr>
          <p:cNvGrpSpPr/>
          <p:nvPr/>
        </p:nvGrpSpPr>
        <p:grpSpPr>
          <a:xfrm>
            <a:off x="0" y="6388725"/>
            <a:ext cx="12192001" cy="469276"/>
            <a:chOff x="0" y="6388725"/>
            <a:chExt cx="12192001" cy="469276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1AC9EDE-E11E-41D3-AFCF-1AE2BF3C9C7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722725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0EF917ED-95A1-43A0-9815-B1227C63A8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0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6FE4FC1-FD12-46FA-BAF4-DF91EC3DCDD8}"/>
              </a:ext>
            </a:extLst>
          </p:cNvPr>
          <p:cNvGrpSpPr/>
          <p:nvPr/>
        </p:nvGrpSpPr>
        <p:grpSpPr>
          <a:xfrm flipV="1">
            <a:off x="0" y="0"/>
            <a:ext cx="12192001" cy="469276"/>
            <a:chOff x="0" y="6388725"/>
            <a:chExt cx="12192001" cy="469276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E85DA5D-AAFD-4D08-8AA5-89FA1307FAA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722725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215F2721-A60F-435C-9521-FC9C523343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0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Slide Number Placeholder 63">
            <a:extLst>
              <a:ext uri="{FF2B5EF4-FFF2-40B4-BE49-F238E27FC236}">
                <a16:creationId xmlns:a16="http://schemas.microsoft.com/office/drawing/2014/main" id="{25886065-57E9-4A13-980D-FB51F031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875"/>
            <a:ext cx="2743200" cy="365125"/>
          </a:xfrm>
        </p:spPr>
        <p:txBody>
          <a:bodyPr/>
          <a:lstStyle/>
          <a:p>
            <a:fld id="{358A3C94-99AD-4370-9394-C6F447157082}" type="slidenum">
              <a:rPr lang="en-US" smtClean="0">
                <a:latin typeface="Montserrat" pitchFamily="2" charset="0"/>
              </a:rPr>
              <a:t>5</a:t>
            </a:fld>
            <a:endParaRPr lang="en-US" dirty="0">
              <a:latin typeface="Montserrat" pitchFamily="2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4CA478A-4EC2-4E2C-9D8C-DE70F165D9FD}"/>
              </a:ext>
            </a:extLst>
          </p:cNvPr>
          <p:cNvSpPr/>
          <p:nvPr/>
        </p:nvSpPr>
        <p:spPr>
          <a:xfrm>
            <a:off x="838200" y="1597717"/>
            <a:ext cx="3335340" cy="558800"/>
          </a:xfrm>
          <a:prstGeom prst="roundRect">
            <a:avLst>
              <a:gd name="adj" fmla="val 50000"/>
            </a:avLst>
          </a:prstGeom>
          <a:solidFill>
            <a:srgbClr val="0941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Montserrat" pitchFamily="2" charset="0"/>
              </a:rPr>
              <a:t>School District</a:t>
            </a:r>
          </a:p>
          <a:p>
            <a:pPr algn="ctr"/>
            <a:r>
              <a:rPr lang="en-US" sz="1600" dirty="0">
                <a:latin typeface="Montserrat" pitchFamily="2" charset="0"/>
              </a:rPr>
              <a:t>Local Boards of Education 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95D9DC3A-9295-4FA3-B6D4-7941470D487B}"/>
              </a:ext>
            </a:extLst>
          </p:cNvPr>
          <p:cNvSpPr/>
          <p:nvPr/>
        </p:nvSpPr>
        <p:spPr>
          <a:xfrm>
            <a:off x="4565928" y="1597717"/>
            <a:ext cx="3335340" cy="558800"/>
          </a:xfrm>
          <a:prstGeom prst="roundRect">
            <a:avLst>
              <a:gd name="adj" fmla="val 50000"/>
            </a:avLst>
          </a:prstGeom>
          <a:solidFill>
            <a:srgbClr val="5FB9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Montserrat" pitchFamily="2" charset="0"/>
              </a:rPr>
              <a:t>Student/Guardian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71077051-E149-400E-ABDC-485446DBEA5B}"/>
              </a:ext>
            </a:extLst>
          </p:cNvPr>
          <p:cNvSpPr/>
          <p:nvPr/>
        </p:nvSpPr>
        <p:spPr>
          <a:xfrm>
            <a:off x="8293656" y="1591712"/>
            <a:ext cx="3335340" cy="558800"/>
          </a:xfrm>
          <a:prstGeom prst="roundRect">
            <a:avLst>
              <a:gd name="adj" fmla="val 50000"/>
            </a:avLst>
          </a:prstGeom>
          <a:solidFill>
            <a:srgbClr val="FF45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Montserrat" pitchFamily="2" charset="0"/>
              </a:rPr>
              <a:t>Local Schools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0D203D8-7B7F-48B5-9EDB-41ED48575429}"/>
              </a:ext>
            </a:extLst>
          </p:cNvPr>
          <p:cNvGrpSpPr/>
          <p:nvPr/>
        </p:nvGrpSpPr>
        <p:grpSpPr>
          <a:xfrm>
            <a:off x="736600" y="2359631"/>
            <a:ext cx="3460130" cy="3382465"/>
            <a:chOff x="736600" y="2102769"/>
            <a:chExt cx="3460130" cy="3256738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2C00FCD-1D3D-47AB-A0FE-715A69818D45}"/>
                </a:ext>
              </a:extLst>
            </p:cNvPr>
            <p:cNvSpPr/>
            <p:nvPr/>
          </p:nvSpPr>
          <p:spPr>
            <a:xfrm>
              <a:off x="736600" y="2102769"/>
              <a:ext cx="365125" cy="365125"/>
            </a:xfrm>
            <a:prstGeom prst="rect">
              <a:avLst/>
            </a:prstGeom>
            <a:noFill/>
            <a:ln w="25400">
              <a:solidFill>
                <a:srgbClr val="0941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0A5B9008-6662-4357-9264-4A7B621DFD1E}"/>
                </a:ext>
              </a:extLst>
            </p:cNvPr>
            <p:cNvSpPr/>
            <p:nvPr/>
          </p:nvSpPr>
          <p:spPr>
            <a:xfrm>
              <a:off x="1214112" y="2154916"/>
              <a:ext cx="2834638" cy="184666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buClr>
                  <a:schemeClr val="accent1"/>
                </a:buClr>
              </a:pPr>
              <a:endPara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12AA307-5109-4F5B-8EDE-A84D79360F8E}"/>
                </a:ext>
              </a:extLst>
            </p:cNvPr>
            <p:cNvSpPr/>
            <p:nvPr/>
          </p:nvSpPr>
          <p:spPr>
            <a:xfrm>
              <a:off x="736600" y="3373535"/>
              <a:ext cx="365125" cy="365125"/>
            </a:xfrm>
            <a:prstGeom prst="rect">
              <a:avLst/>
            </a:prstGeom>
            <a:noFill/>
            <a:ln w="25400">
              <a:solidFill>
                <a:srgbClr val="0941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C43AA820-8B78-4809-87F8-82827D12CD17}"/>
                </a:ext>
              </a:extLst>
            </p:cNvPr>
            <p:cNvSpPr/>
            <p:nvPr/>
          </p:nvSpPr>
          <p:spPr>
            <a:xfrm>
              <a:off x="1214112" y="2915885"/>
              <a:ext cx="2982618" cy="1066812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buClr>
                  <a:schemeClr val="accent1"/>
                </a:buClr>
              </a:pP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Implement policy that includes: application and approval process, list of entities eligible to submit ELOs, and criteria to determine credit and certification of completion </a:t>
              </a: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  <a:hlinkClick r:id="rId2"/>
                </a:rPr>
                <a:t>(ALSDE Memo 22-2053)</a:t>
              </a: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.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35261F03-BF93-4F0A-87A7-ED48B9E786ED}"/>
                </a:ext>
              </a:extLst>
            </p:cNvPr>
            <p:cNvSpPr/>
            <p:nvPr/>
          </p:nvSpPr>
          <p:spPr>
            <a:xfrm>
              <a:off x="736600" y="4644301"/>
              <a:ext cx="365125" cy="365125"/>
            </a:xfrm>
            <a:prstGeom prst="rect">
              <a:avLst/>
            </a:prstGeom>
            <a:noFill/>
            <a:ln w="25400">
              <a:solidFill>
                <a:srgbClr val="0941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DE98B7A6-9BCD-4BCD-92BA-9397DC03D5BC}"/>
                </a:ext>
              </a:extLst>
            </p:cNvPr>
            <p:cNvSpPr/>
            <p:nvPr/>
          </p:nvSpPr>
          <p:spPr>
            <a:xfrm>
              <a:off x="1224035" y="4470497"/>
              <a:ext cx="2881019" cy="889010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buClr>
                  <a:schemeClr val="accent1"/>
                </a:buClr>
              </a:pP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Routinely inform students and their parents of the ability to earn elective credit for ELO participation and successful completion based on criteria established by local policy. 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A9C68AC-2C55-471A-890D-6CDE777FBA17}"/>
              </a:ext>
            </a:extLst>
          </p:cNvPr>
          <p:cNvGrpSpPr/>
          <p:nvPr/>
        </p:nvGrpSpPr>
        <p:grpSpPr>
          <a:xfrm>
            <a:off x="4405770" y="2359631"/>
            <a:ext cx="3347333" cy="3097586"/>
            <a:chOff x="736600" y="2102769"/>
            <a:chExt cx="3335341" cy="2906657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A400A878-F075-4385-BFD3-6569840B97CD}"/>
                </a:ext>
              </a:extLst>
            </p:cNvPr>
            <p:cNvSpPr/>
            <p:nvPr/>
          </p:nvSpPr>
          <p:spPr>
            <a:xfrm>
              <a:off x="736600" y="2102769"/>
              <a:ext cx="365125" cy="365125"/>
            </a:xfrm>
            <a:prstGeom prst="rect">
              <a:avLst/>
            </a:prstGeom>
            <a:noFill/>
            <a:ln w="25400">
              <a:solidFill>
                <a:srgbClr val="5FB9C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7511D2E4-DFAE-4EA1-BEA6-041D2DF244AA}"/>
                </a:ext>
              </a:extLst>
            </p:cNvPr>
            <p:cNvSpPr/>
            <p:nvPr/>
          </p:nvSpPr>
          <p:spPr>
            <a:xfrm>
              <a:off x="1237303" y="2102769"/>
              <a:ext cx="2834638" cy="20216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buClr>
                  <a:schemeClr val="accent1"/>
                </a:buClr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 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890765B4-7CAA-480C-A598-F7822B73FAB9}"/>
                </a:ext>
              </a:extLst>
            </p:cNvPr>
            <p:cNvSpPr/>
            <p:nvPr/>
          </p:nvSpPr>
          <p:spPr>
            <a:xfrm>
              <a:off x="736600" y="3373535"/>
              <a:ext cx="365125" cy="365125"/>
            </a:xfrm>
            <a:prstGeom prst="rect">
              <a:avLst/>
            </a:prstGeom>
            <a:noFill/>
            <a:ln w="25400">
              <a:solidFill>
                <a:srgbClr val="5FB9C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D10F6CB-9F7A-49BA-813E-2F892915164A}"/>
                </a:ext>
              </a:extLst>
            </p:cNvPr>
            <p:cNvSpPr/>
            <p:nvPr/>
          </p:nvSpPr>
          <p:spPr>
            <a:xfrm>
              <a:off x="1152827" y="3291863"/>
              <a:ext cx="2834638" cy="866418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buClr>
                  <a:schemeClr val="accent1"/>
                </a:buClr>
              </a:pP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First, review your district’s ELO requirements and contact building administrator or district ELO contact to learn more and to begin application process.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CE490CB-CC37-4934-93B6-ACF603B0AAC9}"/>
                </a:ext>
              </a:extLst>
            </p:cNvPr>
            <p:cNvSpPr/>
            <p:nvPr/>
          </p:nvSpPr>
          <p:spPr>
            <a:xfrm>
              <a:off x="736600" y="4644301"/>
              <a:ext cx="365125" cy="365125"/>
            </a:xfrm>
            <a:prstGeom prst="rect">
              <a:avLst/>
            </a:prstGeom>
            <a:noFill/>
            <a:ln w="25400">
              <a:solidFill>
                <a:srgbClr val="5FB9C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30179E55-A28F-4223-8404-4A15EF1AE213}"/>
              </a:ext>
            </a:extLst>
          </p:cNvPr>
          <p:cNvGrpSpPr/>
          <p:nvPr/>
        </p:nvGrpSpPr>
        <p:grpSpPr>
          <a:xfrm>
            <a:off x="8120060" y="2258195"/>
            <a:ext cx="3467852" cy="3356064"/>
            <a:chOff x="736600" y="2001333"/>
            <a:chExt cx="3467852" cy="3356064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1AAB902B-691E-443D-A1A0-E6282151A1F9}"/>
                </a:ext>
              </a:extLst>
            </p:cNvPr>
            <p:cNvSpPr/>
            <p:nvPr/>
          </p:nvSpPr>
          <p:spPr>
            <a:xfrm>
              <a:off x="736600" y="2102769"/>
              <a:ext cx="365125" cy="365125"/>
            </a:xfrm>
            <a:prstGeom prst="rect">
              <a:avLst/>
            </a:prstGeom>
            <a:noFill/>
            <a:ln w="25400">
              <a:solidFill>
                <a:srgbClr val="FF45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0FBEBA03-F2ED-40C8-B693-4E1221F03D68}"/>
                </a:ext>
              </a:extLst>
            </p:cNvPr>
            <p:cNvSpPr/>
            <p:nvPr/>
          </p:nvSpPr>
          <p:spPr>
            <a:xfrm>
              <a:off x="1221835" y="3173313"/>
              <a:ext cx="2834637" cy="1107996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buClr>
                  <a:schemeClr val="accent1"/>
                </a:buClr>
              </a:pP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Brainstorm a list of current activities, clubs, programs, etc. students are already participating in outside of the school day </a:t>
              </a:r>
            </a:p>
            <a:p>
              <a:pPr>
                <a:buClr>
                  <a:schemeClr val="accent1"/>
                </a:buClr>
              </a:pP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(4-H, Space Camp, WBL, etc.).</a:t>
              </a:r>
            </a:p>
            <a:p>
              <a:pPr>
                <a:buClr>
                  <a:schemeClr val="accent1"/>
                </a:buClr>
              </a:pPr>
              <a:endPara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369E88B5-7004-4410-A1DB-5363DF170492}"/>
                </a:ext>
              </a:extLst>
            </p:cNvPr>
            <p:cNvSpPr/>
            <p:nvPr/>
          </p:nvSpPr>
          <p:spPr>
            <a:xfrm>
              <a:off x="736600" y="3373535"/>
              <a:ext cx="365125" cy="365125"/>
            </a:xfrm>
            <a:prstGeom prst="rect">
              <a:avLst/>
            </a:prstGeom>
            <a:noFill/>
            <a:ln w="25400">
              <a:solidFill>
                <a:srgbClr val="FF45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0E5DA0A8-4AF7-42D7-B2E4-6B2E7D01FEC7}"/>
                </a:ext>
              </a:extLst>
            </p:cNvPr>
            <p:cNvSpPr/>
            <p:nvPr/>
          </p:nvSpPr>
          <p:spPr>
            <a:xfrm>
              <a:off x="1237302" y="4434067"/>
              <a:ext cx="2834638" cy="923330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buClr>
                  <a:schemeClr val="accent1"/>
                </a:buClr>
              </a:pP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Identify an ELO Liaison who will work collaboratively with the district office, ELO providers, parents, and students to implement and monitor the district’s ELO process. 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80802159-97E8-4015-9B87-FC23AA712704}"/>
                </a:ext>
              </a:extLst>
            </p:cNvPr>
            <p:cNvSpPr/>
            <p:nvPr/>
          </p:nvSpPr>
          <p:spPr>
            <a:xfrm>
              <a:off x="736600" y="4644301"/>
              <a:ext cx="365125" cy="365125"/>
            </a:xfrm>
            <a:prstGeom prst="rect">
              <a:avLst/>
            </a:prstGeom>
            <a:noFill/>
            <a:ln w="25400">
              <a:solidFill>
                <a:srgbClr val="FF45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36BFA563-0601-458D-9001-D39EE90EC9F6}"/>
                </a:ext>
              </a:extLst>
            </p:cNvPr>
            <p:cNvSpPr/>
            <p:nvPr/>
          </p:nvSpPr>
          <p:spPr>
            <a:xfrm>
              <a:off x="1221835" y="2001333"/>
              <a:ext cx="2982617" cy="923330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buClr>
                  <a:schemeClr val="accent1"/>
                </a:buClr>
              </a:pP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Educate all faculty and staff members on ELOs, including </a:t>
              </a:r>
            </a:p>
            <a:p>
              <a:pPr>
                <a:buClr>
                  <a:schemeClr val="accent1"/>
                </a:buClr>
              </a:pP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reviewing all sample forms and processes (application, rubrics, etc.) in your local board-adopted policy. </a:t>
              </a: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076C8151-658F-4504-B601-226F22F37093}"/>
              </a:ext>
            </a:extLst>
          </p:cNvPr>
          <p:cNvSpPr/>
          <p:nvPr/>
        </p:nvSpPr>
        <p:spPr>
          <a:xfrm>
            <a:off x="1214112" y="2301000"/>
            <a:ext cx="2834638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Adopt and distribute local board policy and procedures for ELO process.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89DFE8D-D2C5-4793-91F4-593ED8496D8B}"/>
              </a:ext>
            </a:extLst>
          </p:cNvPr>
          <p:cNvSpPr/>
          <p:nvPr/>
        </p:nvSpPr>
        <p:spPr>
          <a:xfrm>
            <a:off x="4867886" y="2239148"/>
            <a:ext cx="3156496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If you are participating in learning activities or programs outside of traditional school day and would like to elective credit, you may want to consider the Alabama Extended Learning Opportunity (ELO).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3FF08BA-E832-4FD1-A787-15476E1F7030}"/>
              </a:ext>
            </a:extLst>
          </p:cNvPr>
          <p:cNvSpPr/>
          <p:nvPr/>
        </p:nvSpPr>
        <p:spPr>
          <a:xfrm>
            <a:off x="4882651" y="4810886"/>
            <a:ext cx="2834638" cy="110799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Also, share any information provided by the district with the prospective ELO provider, and gather as much information as possible to include with the application and approval process.</a:t>
            </a:r>
          </a:p>
        </p:txBody>
      </p:sp>
    </p:spTree>
    <p:extLst>
      <p:ext uri="{BB962C8B-B14F-4D97-AF65-F5344CB8AC3E}">
        <p14:creationId xmlns:p14="http://schemas.microsoft.com/office/powerpoint/2010/main" val="15316297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4BBE90C5-C25D-4B9C-A9A1-57BB02853EC6}"/>
              </a:ext>
            </a:extLst>
          </p:cNvPr>
          <p:cNvGrpSpPr/>
          <p:nvPr/>
        </p:nvGrpSpPr>
        <p:grpSpPr>
          <a:xfrm>
            <a:off x="-1" y="-1"/>
            <a:ext cx="12192001" cy="6858001"/>
            <a:chOff x="0" y="0"/>
            <a:chExt cx="12192001" cy="6858001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576DBC4C-9AD8-450C-8066-EC09A801CD69}"/>
                </a:ext>
              </a:extLst>
            </p:cNvPr>
            <p:cNvSpPr/>
            <p:nvPr/>
          </p:nvSpPr>
          <p:spPr>
            <a:xfrm>
              <a:off x="333829" y="337457"/>
              <a:ext cx="11524342" cy="6183086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1AC9EDE-E11E-41D3-AFCF-1AE2BF3C9C7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722725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0EF917ED-95A1-43A0-9815-B1227C63A8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0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E85DA5D-AAFD-4D08-8AA5-89FA1307FAA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722725" y="0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215F2721-A60F-435C-9521-FC9C5233433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0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2E42C2D4-2319-4124-B35C-620BDC9D3D9B}"/>
              </a:ext>
            </a:extLst>
          </p:cNvPr>
          <p:cNvSpPr txBox="1"/>
          <p:nvPr/>
        </p:nvSpPr>
        <p:spPr>
          <a:xfrm>
            <a:off x="333829" y="395224"/>
            <a:ext cx="1152434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Extended Learning Opportunity Sample Rubrics : </a:t>
            </a:r>
          </a:p>
          <a:p>
            <a:pPr algn="ctr"/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How Do You Assess An ELO for Quality? </a:t>
            </a:r>
          </a:p>
        </p:txBody>
      </p:sp>
      <p:sp>
        <p:nvSpPr>
          <p:cNvPr id="64" name="Slide Number Placeholder 63">
            <a:extLst>
              <a:ext uri="{FF2B5EF4-FFF2-40B4-BE49-F238E27FC236}">
                <a16:creationId xmlns:a16="http://schemas.microsoft.com/office/drawing/2014/main" id="{25886065-57E9-4A13-980D-FB51F031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875"/>
            <a:ext cx="2743200" cy="365125"/>
          </a:xfrm>
        </p:spPr>
        <p:txBody>
          <a:bodyPr/>
          <a:lstStyle/>
          <a:p>
            <a:fld id="{358A3C94-99AD-4370-9394-C6F447157082}" type="slidenum">
              <a:rPr lang="en-US" smtClean="0">
                <a:latin typeface="Montserrat" pitchFamily="2" charset="0"/>
              </a:rPr>
              <a:t>6</a:t>
            </a:fld>
            <a:endParaRPr lang="en-US" dirty="0">
              <a:latin typeface="Montserrat" pitchFamily="2" charset="0"/>
            </a:endParaRPr>
          </a:p>
        </p:txBody>
      </p:sp>
      <p:sp>
        <p:nvSpPr>
          <p:cNvPr id="80" name="Freeform 33">
            <a:extLst>
              <a:ext uri="{FF2B5EF4-FFF2-40B4-BE49-F238E27FC236}">
                <a16:creationId xmlns:a16="http://schemas.microsoft.com/office/drawing/2014/main" id="{395779B8-4B40-42E7-B6B2-3944E28E71C2}"/>
              </a:ext>
            </a:extLst>
          </p:cNvPr>
          <p:cNvSpPr>
            <a:spLocks/>
          </p:cNvSpPr>
          <p:nvPr/>
        </p:nvSpPr>
        <p:spPr bwMode="auto">
          <a:xfrm>
            <a:off x="3259424" y="2366336"/>
            <a:ext cx="170083" cy="160737"/>
          </a:xfrm>
          <a:custGeom>
            <a:avLst/>
            <a:gdLst>
              <a:gd name="T0" fmla="*/ 0 w 91"/>
              <a:gd name="T1" fmla="*/ 86 h 86"/>
              <a:gd name="T2" fmla="*/ 91 w 91"/>
              <a:gd name="T3" fmla="*/ 0 h 86"/>
              <a:gd name="T4" fmla="*/ 91 w 91"/>
              <a:gd name="T5" fmla="*/ 86 h 86"/>
              <a:gd name="T6" fmla="*/ 0 w 91"/>
              <a:gd name="T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6">
                <a:moveTo>
                  <a:pt x="0" y="86"/>
                </a:moveTo>
                <a:lnTo>
                  <a:pt x="91" y="0"/>
                </a:lnTo>
                <a:lnTo>
                  <a:pt x="91" y="86"/>
                </a:lnTo>
                <a:lnTo>
                  <a:pt x="0" y="86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81" name="Freeform 6">
            <a:extLst>
              <a:ext uri="{FF2B5EF4-FFF2-40B4-BE49-F238E27FC236}">
                <a16:creationId xmlns:a16="http://schemas.microsoft.com/office/drawing/2014/main" id="{429ADB58-379C-4675-8C8C-2039F9B44DA6}"/>
              </a:ext>
            </a:extLst>
          </p:cNvPr>
          <p:cNvSpPr>
            <a:spLocks/>
          </p:cNvSpPr>
          <p:nvPr/>
        </p:nvSpPr>
        <p:spPr bwMode="auto">
          <a:xfrm>
            <a:off x="2573489" y="4547492"/>
            <a:ext cx="1786795" cy="22428"/>
          </a:xfrm>
          <a:custGeom>
            <a:avLst/>
            <a:gdLst>
              <a:gd name="T0" fmla="*/ 956 w 956"/>
              <a:gd name="T1" fmla="*/ 0 h 12"/>
              <a:gd name="T2" fmla="*/ 0 w 956"/>
              <a:gd name="T3" fmla="*/ 0 h 12"/>
              <a:gd name="T4" fmla="*/ 0 w 956"/>
              <a:gd name="T5" fmla="*/ 12 h 12"/>
              <a:gd name="T6" fmla="*/ 956 w 956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56" h="12">
                <a:moveTo>
                  <a:pt x="956" y="0"/>
                </a:moveTo>
                <a:lnTo>
                  <a:pt x="0" y="0"/>
                </a:lnTo>
                <a:lnTo>
                  <a:pt x="0" y="12"/>
                </a:lnTo>
                <a:lnTo>
                  <a:pt x="956" y="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83" name="Freeform 9">
            <a:extLst>
              <a:ext uri="{FF2B5EF4-FFF2-40B4-BE49-F238E27FC236}">
                <a16:creationId xmlns:a16="http://schemas.microsoft.com/office/drawing/2014/main" id="{7193E1F8-2542-4B27-B07F-188D1A046FF8}"/>
              </a:ext>
            </a:extLst>
          </p:cNvPr>
          <p:cNvSpPr>
            <a:spLocks/>
          </p:cNvSpPr>
          <p:nvPr/>
        </p:nvSpPr>
        <p:spPr bwMode="auto">
          <a:xfrm>
            <a:off x="2573489" y="5627793"/>
            <a:ext cx="2334422" cy="22428"/>
          </a:xfrm>
          <a:custGeom>
            <a:avLst/>
            <a:gdLst>
              <a:gd name="T0" fmla="*/ 1249 w 1249"/>
              <a:gd name="T1" fmla="*/ 0 h 12"/>
              <a:gd name="T2" fmla="*/ 0 w 1249"/>
              <a:gd name="T3" fmla="*/ 0 h 12"/>
              <a:gd name="T4" fmla="*/ 0 w 1249"/>
              <a:gd name="T5" fmla="*/ 12 h 12"/>
              <a:gd name="T6" fmla="*/ 1249 w 1249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49" h="12">
                <a:moveTo>
                  <a:pt x="1249" y="0"/>
                </a:moveTo>
                <a:lnTo>
                  <a:pt x="0" y="0"/>
                </a:lnTo>
                <a:lnTo>
                  <a:pt x="0" y="12"/>
                </a:lnTo>
                <a:lnTo>
                  <a:pt x="1249" y="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85" name="Freeform 12">
            <a:extLst>
              <a:ext uri="{FF2B5EF4-FFF2-40B4-BE49-F238E27FC236}">
                <a16:creationId xmlns:a16="http://schemas.microsoft.com/office/drawing/2014/main" id="{344C3E4C-12D7-4C28-9F68-F502D7632751}"/>
              </a:ext>
            </a:extLst>
          </p:cNvPr>
          <p:cNvSpPr>
            <a:spLocks/>
          </p:cNvSpPr>
          <p:nvPr/>
        </p:nvSpPr>
        <p:spPr bwMode="auto">
          <a:xfrm>
            <a:off x="2573490" y="2403713"/>
            <a:ext cx="955076" cy="22428"/>
          </a:xfrm>
          <a:custGeom>
            <a:avLst/>
            <a:gdLst>
              <a:gd name="T0" fmla="*/ 511 w 511"/>
              <a:gd name="T1" fmla="*/ 0 h 12"/>
              <a:gd name="T2" fmla="*/ 0 w 511"/>
              <a:gd name="T3" fmla="*/ 0 h 12"/>
              <a:gd name="T4" fmla="*/ 0 w 511"/>
              <a:gd name="T5" fmla="*/ 12 h 12"/>
              <a:gd name="T6" fmla="*/ 511 w 511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11" h="12">
                <a:moveTo>
                  <a:pt x="511" y="0"/>
                </a:moveTo>
                <a:lnTo>
                  <a:pt x="0" y="0"/>
                </a:lnTo>
                <a:lnTo>
                  <a:pt x="0" y="12"/>
                </a:lnTo>
                <a:lnTo>
                  <a:pt x="511" y="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91" name="Freeform 15">
            <a:extLst>
              <a:ext uri="{FF2B5EF4-FFF2-40B4-BE49-F238E27FC236}">
                <a16:creationId xmlns:a16="http://schemas.microsoft.com/office/drawing/2014/main" id="{07AB936F-47B0-47F7-94DD-128918C55E0E}"/>
              </a:ext>
            </a:extLst>
          </p:cNvPr>
          <p:cNvSpPr>
            <a:spLocks/>
          </p:cNvSpPr>
          <p:nvPr/>
        </p:nvSpPr>
        <p:spPr bwMode="auto">
          <a:xfrm>
            <a:off x="2573489" y="3467192"/>
            <a:ext cx="1293370" cy="22428"/>
          </a:xfrm>
          <a:custGeom>
            <a:avLst/>
            <a:gdLst>
              <a:gd name="T0" fmla="*/ 692 w 692"/>
              <a:gd name="T1" fmla="*/ 0 h 12"/>
              <a:gd name="T2" fmla="*/ 0 w 692"/>
              <a:gd name="T3" fmla="*/ 0 h 12"/>
              <a:gd name="T4" fmla="*/ 0 w 692"/>
              <a:gd name="T5" fmla="*/ 12 h 12"/>
              <a:gd name="T6" fmla="*/ 692 w 692"/>
              <a:gd name="T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92" h="12">
                <a:moveTo>
                  <a:pt x="692" y="0"/>
                </a:moveTo>
                <a:lnTo>
                  <a:pt x="0" y="0"/>
                </a:lnTo>
                <a:lnTo>
                  <a:pt x="0" y="12"/>
                </a:lnTo>
                <a:lnTo>
                  <a:pt x="692" y="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93" name="Freeform 17">
            <a:extLst>
              <a:ext uri="{FF2B5EF4-FFF2-40B4-BE49-F238E27FC236}">
                <a16:creationId xmlns:a16="http://schemas.microsoft.com/office/drawing/2014/main" id="{36A6DD1D-E7E0-4F61-9C68-94E30F6DAA61}"/>
              </a:ext>
            </a:extLst>
          </p:cNvPr>
          <p:cNvSpPr>
            <a:spLocks/>
          </p:cNvSpPr>
          <p:nvPr/>
        </p:nvSpPr>
        <p:spPr bwMode="auto">
          <a:xfrm>
            <a:off x="4866791" y="5014751"/>
            <a:ext cx="5106196" cy="1067218"/>
          </a:xfrm>
          <a:custGeom>
            <a:avLst/>
            <a:gdLst>
              <a:gd name="T0" fmla="*/ 2732 w 2732"/>
              <a:gd name="T1" fmla="*/ 571 h 571"/>
              <a:gd name="T2" fmla="*/ 2732 w 2732"/>
              <a:gd name="T3" fmla="*/ 0 h 571"/>
              <a:gd name="T4" fmla="*/ 330 w 2732"/>
              <a:gd name="T5" fmla="*/ 0 h 571"/>
              <a:gd name="T6" fmla="*/ 0 w 2732"/>
              <a:gd name="T7" fmla="*/ 571 h 571"/>
              <a:gd name="T8" fmla="*/ 2732 w 273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1">
                <a:moveTo>
                  <a:pt x="2732" y="571"/>
                </a:moveTo>
                <a:lnTo>
                  <a:pt x="2732" y="0"/>
                </a:lnTo>
                <a:lnTo>
                  <a:pt x="330" y="0"/>
                </a:lnTo>
                <a:lnTo>
                  <a:pt x="0" y="571"/>
                </a:lnTo>
                <a:lnTo>
                  <a:pt x="2732" y="571"/>
                </a:lnTo>
                <a:close/>
              </a:path>
            </a:pathLst>
          </a:custGeom>
          <a:solidFill>
            <a:schemeClr val="bg1">
              <a:lumMod val="50000"/>
              <a:alpha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94" name="Freeform 18">
            <a:extLst>
              <a:ext uri="{FF2B5EF4-FFF2-40B4-BE49-F238E27FC236}">
                <a16:creationId xmlns:a16="http://schemas.microsoft.com/office/drawing/2014/main" id="{5DF2135F-E0ED-4BCE-B32B-B99B1AAA3BFF}"/>
              </a:ext>
            </a:extLst>
          </p:cNvPr>
          <p:cNvSpPr>
            <a:spLocks/>
          </p:cNvSpPr>
          <p:nvPr/>
        </p:nvSpPr>
        <p:spPr bwMode="auto">
          <a:xfrm>
            <a:off x="4866791" y="5014751"/>
            <a:ext cx="5106196" cy="1067218"/>
          </a:xfrm>
          <a:custGeom>
            <a:avLst/>
            <a:gdLst>
              <a:gd name="T0" fmla="*/ 2732 w 2732"/>
              <a:gd name="T1" fmla="*/ 571 h 571"/>
              <a:gd name="T2" fmla="*/ 2732 w 2732"/>
              <a:gd name="T3" fmla="*/ 0 h 571"/>
              <a:gd name="T4" fmla="*/ 330 w 2732"/>
              <a:gd name="T5" fmla="*/ 0 h 571"/>
              <a:gd name="T6" fmla="*/ 0 w 2732"/>
              <a:gd name="T7" fmla="*/ 571 h 571"/>
              <a:gd name="T8" fmla="*/ 2732 w 273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1">
                <a:moveTo>
                  <a:pt x="2732" y="571"/>
                </a:moveTo>
                <a:lnTo>
                  <a:pt x="2732" y="0"/>
                </a:lnTo>
                <a:lnTo>
                  <a:pt x="330" y="0"/>
                </a:lnTo>
                <a:lnTo>
                  <a:pt x="0" y="571"/>
                </a:lnTo>
                <a:lnTo>
                  <a:pt x="2732" y="57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95" name="Freeform 19">
            <a:extLst>
              <a:ext uri="{FF2B5EF4-FFF2-40B4-BE49-F238E27FC236}">
                <a16:creationId xmlns:a16="http://schemas.microsoft.com/office/drawing/2014/main" id="{365E96A1-623F-41E7-8AF3-19C2AA23218E}"/>
              </a:ext>
            </a:extLst>
          </p:cNvPr>
          <p:cNvSpPr>
            <a:spLocks/>
          </p:cNvSpPr>
          <p:nvPr/>
        </p:nvSpPr>
        <p:spPr bwMode="auto">
          <a:xfrm>
            <a:off x="4866791" y="3949403"/>
            <a:ext cx="5106196" cy="1065348"/>
          </a:xfrm>
          <a:custGeom>
            <a:avLst/>
            <a:gdLst>
              <a:gd name="T0" fmla="*/ 2732 w 2732"/>
              <a:gd name="T1" fmla="*/ 570 h 570"/>
              <a:gd name="T2" fmla="*/ 2732 w 2732"/>
              <a:gd name="T3" fmla="*/ 0 h 570"/>
              <a:gd name="T4" fmla="*/ 330 w 2732"/>
              <a:gd name="T5" fmla="*/ 0 h 570"/>
              <a:gd name="T6" fmla="*/ 0 w 2732"/>
              <a:gd name="T7" fmla="*/ 570 h 570"/>
              <a:gd name="T8" fmla="*/ 2732 w 2732"/>
              <a:gd name="T9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0">
                <a:moveTo>
                  <a:pt x="2732" y="570"/>
                </a:moveTo>
                <a:lnTo>
                  <a:pt x="2732" y="0"/>
                </a:lnTo>
                <a:lnTo>
                  <a:pt x="330" y="0"/>
                </a:lnTo>
                <a:lnTo>
                  <a:pt x="0" y="570"/>
                </a:lnTo>
                <a:lnTo>
                  <a:pt x="2732" y="570"/>
                </a:lnTo>
                <a:close/>
              </a:path>
            </a:pathLst>
          </a:custGeom>
          <a:solidFill>
            <a:srgbClr val="5FB9C5">
              <a:alpha val="40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>
                <a:latin typeface="Montserrat" pitchFamily="2" charset="0"/>
              </a:rPr>
              <a:t>Inc</a:t>
            </a:r>
          </a:p>
        </p:txBody>
      </p:sp>
      <p:sp>
        <p:nvSpPr>
          <p:cNvPr id="96" name="Freeform 20">
            <a:extLst>
              <a:ext uri="{FF2B5EF4-FFF2-40B4-BE49-F238E27FC236}">
                <a16:creationId xmlns:a16="http://schemas.microsoft.com/office/drawing/2014/main" id="{4557F4E1-CA3C-4536-80F6-733870C5E063}"/>
              </a:ext>
            </a:extLst>
          </p:cNvPr>
          <p:cNvSpPr>
            <a:spLocks/>
          </p:cNvSpPr>
          <p:nvPr/>
        </p:nvSpPr>
        <p:spPr bwMode="auto">
          <a:xfrm>
            <a:off x="4866791" y="3949403"/>
            <a:ext cx="5106196" cy="1065348"/>
          </a:xfrm>
          <a:custGeom>
            <a:avLst/>
            <a:gdLst>
              <a:gd name="T0" fmla="*/ 2732 w 2732"/>
              <a:gd name="T1" fmla="*/ 570 h 570"/>
              <a:gd name="T2" fmla="*/ 2732 w 2732"/>
              <a:gd name="T3" fmla="*/ 0 h 570"/>
              <a:gd name="T4" fmla="*/ 330 w 2732"/>
              <a:gd name="T5" fmla="*/ 0 h 570"/>
              <a:gd name="T6" fmla="*/ 0 w 2732"/>
              <a:gd name="T7" fmla="*/ 570 h 570"/>
              <a:gd name="T8" fmla="*/ 2732 w 2732"/>
              <a:gd name="T9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0">
                <a:moveTo>
                  <a:pt x="2732" y="570"/>
                </a:moveTo>
                <a:lnTo>
                  <a:pt x="2732" y="0"/>
                </a:lnTo>
                <a:lnTo>
                  <a:pt x="330" y="0"/>
                </a:lnTo>
                <a:lnTo>
                  <a:pt x="0" y="570"/>
                </a:lnTo>
                <a:lnTo>
                  <a:pt x="2732" y="57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97" name="Freeform 21">
            <a:extLst>
              <a:ext uri="{FF2B5EF4-FFF2-40B4-BE49-F238E27FC236}">
                <a16:creationId xmlns:a16="http://schemas.microsoft.com/office/drawing/2014/main" id="{1BE9C9D5-8574-4C8A-B83C-8E2AB07201CE}"/>
              </a:ext>
            </a:extLst>
          </p:cNvPr>
          <p:cNvSpPr>
            <a:spLocks/>
          </p:cNvSpPr>
          <p:nvPr/>
        </p:nvSpPr>
        <p:spPr bwMode="auto">
          <a:xfrm>
            <a:off x="4866791" y="2885923"/>
            <a:ext cx="5106196" cy="1063480"/>
          </a:xfrm>
          <a:custGeom>
            <a:avLst/>
            <a:gdLst>
              <a:gd name="T0" fmla="*/ 2732 w 2732"/>
              <a:gd name="T1" fmla="*/ 569 h 569"/>
              <a:gd name="T2" fmla="*/ 2732 w 2732"/>
              <a:gd name="T3" fmla="*/ 0 h 569"/>
              <a:gd name="T4" fmla="*/ 330 w 2732"/>
              <a:gd name="T5" fmla="*/ 0 h 569"/>
              <a:gd name="T6" fmla="*/ 0 w 2732"/>
              <a:gd name="T7" fmla="*/ 569 h 569"/>
              <a:gd name="T8" fmla="*/ 2732 w 2732"/>
              <a:gd name="T9" fmla="*/ 569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69">
                <a:moveTo>
                  <a:pt x="2732" y="569"/>
                </a:moveTo>
                <a:lnTo>
                  <a:pt x="2732" y="0"/>
                </a:lnTo>
                <a:lnTo>
                  <a:pt x="330" y="0"/>
                </a:lnTo>
                <a:lnTo>
                  <a:pt x="0" y="569"/>
                </a:lnTo>
                <a:lnTo>
                  <a:pt x="2732" y="569"/>
                </a:lnTo>
                <a:close/>
              </a:path>
            </a:pathLst>
          </a:custGeom>
          <a:solidFill>
            <a:srgbClr val="FF453A">
              <a:alpha val="40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98" name="Freeform 22">
            <a:extLst>
              <a:ext uri="{FF2B5EF4-FFF2-40B4-BE49-F238E27FC236}">
                <a16:creationId xmlns:a16="http://schemas.microsoft.com/office/drawing/2014/main" id="{C11B412F-6C1A-4B5F-A1A1-8155E2900FBF}"/>
              </a:ext>
            </a:extLst>
          </p:cNvPr>
          <p:cNvSpPr>
            <a:spLocks/>
          </p:cNvSpPr>
          <p:nvPr/>
        </p:nvSpPr>
        <p:spPr bwMode="auto">
          <a:xfrm>
            <a:off x="4866791" y="2885923"/>
            <a:ext cx="5106196" cy="1063480"/>
          </a:xfrm>
          <a:custGeom>
            <a:avLst/>
            <a:gdLst>
              <a:gd name="T0" fmla="*/ 2732 w 2732"/>
              <a:gd name="T1" fmla="*/ 569 h 569"/>
              <a:gd name="T2" fmla="*/ 2732 w 2732"/>
              <a:gd name="T3" fmla="*/ 0 h 569"/>
              <a:gd name="T4" fmla="*/ 330 w 2732"/>
              <a:gd name="T5" fmla="*/ 0 h 569"/>
              <a:gd name="T6" fmla="*/ 0 w 2732"/>
              <a:gd name="T7" fmla="*/ 569 h 569"/>
              <a:gd name="T8" fmla="*/ 2732 w 2732"/>
              <a:gd name="T9" fmla="*/ 569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69">
                <a:moveTo>
                  <a:pt x="2732" y="569"/>
                </a:moveTo>
                <a:lnTo>
                  <a:pt x="2732" y="0"/>
                </a:lnTo>
                <a:lnTo>
                  <a:pt x="330" y="0"/>
                </a:lnTo>
                <a:lnTo>
                  <a:pt x="0" y="569"/>
                </a:lnTo>
                <a:lnTo>
                  <a:pt x="2732" y="569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99" name="Freeform 23">
            <a:extLst>
              <a:ext uri="{FF2B5EF4-FFF2-40B4-BE49-F238E27FC236}">
                <a16:creationId xmlns:a16="http://schemas.microsoft.com/office/drawing/2014/main" id="{8BA3DA70-2287-4224-9BB5-0B5311A708D4}"/>
              </a:ext>
            </a:extLst>
          </p:cNvPr>
          <p:cNvSpPr>
            <a:spLocks/>
          </p:cNvSpPr>
          <p:nvPr/>
        </p:nvSpPr>
        <p:spPr bwMode="auto">
          <a:xfrm>
            <a:off x="4866791" y="1818706"/>
            <a:ext cx="5106196" cy="1067218"/>
          </a:xfrm>
          <a:custGeom>
            <a:avLst/>
            <a:gdLst>
              <a:gd name="T0" fmla="*/ 2732 w 2732"/>
              <a:gd name="T1" fmla="*/ 571 h 571"/>
              <a:gd name="T2" fmla="*/ 2732 w 2732"/>
              <a:gd name="T3" fmla="*/ 0 h 571"/>
              <a:gd name="T4" fmla="*/ 330 w 2732"/>
              <a:gd name="T5" fmla="*/ 0 h 571"/>
              <a:gd name="T6" fmla="*/ 0 w 2732"/>
              <a:gd name="T7" fmla="*/ 571 h 571"/>
              <a:gd name="T8" fmla="*/ 2732 w 273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1">
                <a:moveTo>
                  <a:pt x="2732" y="571"/>
                </a:moveTo>
                <a:lnTo>
                  <a:pt x="2732" y="0"/>
                </a:lnTo>
                <a:lnTo>
                  <a:pt x="330" y="0"/>
                </a:lnTo>
                <a:lnTo>
                  <a:pt x="0" y="571"/>
                </a:lnTo>
                <a:lnTo>
                  <a:pt x="2732" y="571"/>
                </a:lnTo>
                <a:close/>
              </a:path>
            </a:pathLst>
          </a:custGeom>
          <a:solidFill>
            <a:srgbClr val="094156">
              <a:alpha val="40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12" name="Freeform 24">
            <a:extLst>
              <a:ext uri="{FF2B5EF4-FFF2-40B4-BE49-F238E27FC236}">
                <a16:creationId xmlns:a16="http://schemas.microsoft.com/office/drawing/2014/main" id="{FF7D34D8-91FF-4CAF-BC66-D787488BADB1}"/>
              </a:ext>
            </a:extLst>
          </p:cNvPr>
          <p:cNvSpPr>
            <a:spLocks/>
          </p:cNvSpPr>
          <p:nvPr/>
        </p:nvSpPr>
        <p:spPr bwMode="auto">
          <a:xfrm>
            <a:off x="4866791" y="1818706"/>
            <a:ext cx="5106196" cy="1067218"/>
          </a:xfrm>
          <a:custGeom>
            <a:avLst/>
            <a:gdLst>
              <a:gd name="T0" fmla="*/ 2732 w 2732"/>
              <a:gd name="T1" fmla="*/ 571 h 571"/>
              <a:gd name="T2" fmla="*/ 2732 w 2732"/>
              <a:gd name="T3" fmla="*/ 0 h 571"/>
              <a:gd name="T4" fmla="*/ 330 w 2732"/>
              <a:gd name="T5" fmla="*/ 0 h 571"/>
              <a:gd name="T6" fmla="*/ 0 w 2732"/>
              <a:gd name="T7" fmla="*/ 571 h 571"/>
              <a:gd name="T8" fmla="*/ 2732 w 273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32" h="571">
                <a:moveTo>
                  <a:pt x="2732" y="571"/>
                </a:moveTo>
                <a:lnTo>
                  <a:pt x="2732" y="0"/>
                </a:lnTo>
                <a:lnTo>
                  <a:pt x="330" y="0"/>
                </a:lnTo>
                <a:lnTo>
                  <a:pt x="0" y="571"/>
                </a:lnTo>
                <a:lnTo>
                  <a:pt x="2732" y="57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15" name="Freeform 32">
            <a:extLst>
              <a:ext uri="{FF2B5EF4-FFF2-40B4-BE49-F238E27FC236}">
                <a16:creationId xmlns:a16="http://schemas.microsoft.com/office/drawing/2014/main" id="{26DDBA55-1423-47D0-A4F2-D1ED86F91ADC}"/>
              </a:ext>
            </a:extLst>
          </p:cNvPr>
          <p:cNvSpPr>
            <a:spLocks/>
          </p:cNvSpPr>
          <p:nvPr/>
        </p:nvSpPr>
        <p:spPr bwMode="auto">
          <a:xfrm>
            <a:off x="2799642" y="1299114"/>
            <a:ext cx="1919497" cy="994325"/>
          </a:xfrm>
          <a:custGeom>
            <a:avLst/>
            <a:gdLst>
              <a:gd name="T0" fmla="*/ 790 w 1027"/>
              <a:gd name="T1" fmla="*/ 0 h 532"/>
              <a:gd name="T2" fmla="*/ 91 w 1027"/>
              <a:gd name="T3" fmla="*/ 0 h 532"/>
              <a:gd name="T4" fmla="*/ 0 w 1027"/>
              <a:gd name="T5" fmla="*/ 85 h 532"/>
              <a:gd name="T6" fmla="*/ 91 w 1027"/>
              <a:gd name="T7" fmla="*/ 85 h 532"/>
              <a:gd name="T8" fmla="*/ 292 w 1027"/>
              <a:gd name="T9" fmla="*/ 532 h 532"/>
              <a:gd name="T10" fmla="*/ 1027 w 1027"/>
              <a:gd name="T11" fmla="*/ 532 h 532"/>
              <a:gd name="T12" fmla="*/ 790 w 1027"/>
              <a:gd name="T13" fmla="*/ 0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27" h="532">
                <a:moveTo>
                  <a:pt x="790" y="0"/>
                </a:moveTo>
                <a:lnTo>
                  <a:pt x="91" y="0"/>
                </a:lnTo>
                <a:lnTo>
                  <a:pt x="0" y="85"/>
                </a:lnTo>
                <a:lnTo>
                  <a:pt x="91" y="85"/>
                </a:lnTo>
                <a:lnTo>
                  <a:pt x="292" y="532"/>
                </a:lnTo>
                <a:lnTo>
                  <a:pt x="1027" y="532"/>
                </a:lnTo>
                <a:lnTo>
                  <a:pt x="790" y="0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17" name="Freeform 33">
            <a:extLst>
              <a:ext uri="{FF2B5EF4-FFF2-40B4-BE49-F238E27FC236}">
                <a16:creationId xmlns:a16="http://schemas.microsoft.com/office/drawing/2014/main" id="{AF37E967-7527-44E1-ACD3-2CD14875823B}"/>
              </a:ext>
            </a:extLst>
          </p:cNvPr>
          <p:cNvSpPr>
            <a:spLocks/>
          </p:cNvSpPr>
          <p:nvPr/>
        </p:nvSpPr>
        <p:spPr bwMode="auto">
          <a:xfrm>
            <a:off x="3730420" y="3427944"/>
            <a:ext cx="170083" cy="160737"/>
          </a:xfrm>
          <a:custGeom>
            <a:avLst/>
            <a:gdLst>
              <a:gd name="T0" fmla="*/ 0 w 91"/>
              <a:gd name="T1" fmla="*/ 86 h 86"/>
              <a:gd name="T2" fmla="*/ 91 w 91"/>
              <a:gd name="T3" fmla="*/ 0 h 86"/>
              <a:gd name="T4" fmla="*/ 91 w 91"/>
              <a:gd name="T5" fmla="*/ 86 h 86"/>
              <a:gd name="T6" fmla="*/ 0 w 91"/>
              <a:gd name="T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6">
                <a:moveTo>
                  <a:pt x="0" y="86"/>
                </a:moveTo>
                <a:lnTo>
                  <a:pt x="91" y="0"/>
                </a:lnTo>
                <a:lnTo>
                  <a:pt x="91" y="86"/>
                </a:lnTo>
                <a:lnTo>
                  <a:pt x="0" y="86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18" name="Freeform 34">
            <a:extLst>
              <a:ext uri="{FF2B5EF4-FFF2-40B4-BE49-F238E27FC236}">
                <a16:creationId xmlns:a16="http://schemas.microsoft.com/office/drawing/2014/main" id="{ACE7719D-53B1-4EAE-84C8-14DDF5CC614A}"/>
              </a:ext>
            </a:extLst>
          </p:cNvPr>
          <p:cNvSpPr>
            <a:spLocks/>
          </p:cNvSpPr>
          <p:nvPr/>
        </p:nvSpPr>
        <p:spPr bwMode="auto">
          <a:xfrm>
            <a:off x="3730420" y="3427944"/>
            <a:ext cx="170083" cy="160737"/>
          </a:xfrm>
          <a:custGeom>
            <a:avLst/>
            <a:gdLst>
              <a:gd name="T0" fmla="*/ 0 w 91"/>
              <a:gd name="T1" fmla="*/ 86 h 86"/>
              <a:gd name="T2" fmla="*/ 91 w 91"/>
              <a:gd name="T3" fmla="*/ 0 h 86"/>
              <a:gd name="T4" fmla="*/ 91 w 91"/>
              <a:gd name="T5" fmla="*/ 86 h 86"/>
              <a:gd name="T6" fmla="*/ 0 w 91"/>
              <a:gd name="T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6">
                <a:moveTo>
                  <a:pt x="0" y="86"/>
                </a:moveTo>
                <a:lnTo>
                  <a:pt x="91" y="0"/>
                </a:lnTo>
                <a:lnTo>
                  <a:pt x="91" y="86"/>
                </a:lnTo>
                <a:lnTo>
                  <a:pt x="0" y="8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19" name="Freeform 35">
            <a:extLst>
              <a:ext uri="{FF2B5EF4-FFF2-40B4-BE49-F238E27FC236}">
                <a16:creationId xmlns:a16="http://schemas.microsoft.com/office/drawing/2014/main" id="{D9CD4390-09BF-4BA8-BCAA-DCD24379C9A2}"/>
              </a:ext>
            </a:extLst>
          </p:cNvPr>
          <p:cNvSpPr>
            <a:spLocks/>
          </p:cNvSpPr>
          <p:nvPr/>
        </p:nvSpPr>
        <p:spPr bwMode="auto">
          <a:xfrm>
            <a:off x="4190202" y="4495159"/>
            <a:ext cx="170083" cy="158868"/>
          </a:xfrm>
          <a:custGeom>
            <a:avLst/>
            <a:gdLst>
              <a:gd name="T0" fmla="*/ 0 w 91"/>
              <a:gd name="T1" fmla="*/ 85 h 85"/>
              <a:gd name="T2" fmla="*/ 91 w 91"/>
              <a:gd name="T3" fmla="*/ 0 h 85"/>
              <a:gd name="T4" fmla="*/ 91 w 91"/>
              <a:gd name="T5" fmla="*/ 85 h 85"/>
              <a:gd name="T6" fmla="*/ 0 w 91"/>
              <a:gd name="T7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5">
                <a:moveTo>
                  <a:pt x="0" y="85"/>
                </a:moveTo>
                <a:lnTo>
                  <a:pt x="91" y="0"/>
                </a:lnTo>
                <a:lnTo>
                  <a:pt x="91" y="85"/>
                </a:lnTo>
                <a:lnTo>
                  <a:pt x="0" y="85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22" name="Freeform 36">
            <a:extLst>
              <a:ext uri="{FF2B5EF4-FFF2-40B4-BE49-F238E27FC236}">
                <a16:creationId xmlns:a16="http://schemas.microsoft.com/office/drawing/2014/main" id="{36589918-B7AB-47B7-8367-8C1F9811DC55}"/>
              </a:ext>
            </a:extLst>
          </p:cNvPr>
          <p:cNvSpPr>
            <a:spLocks/>
          </p:cNvSpPr>
          <p:nvPr/>
        </p:nvSpPr>
        <p:spPr bwMode="auto">
          <a:xfrm>
            <a:off x="4190202" y="4495159"/>
            <a:ext cx="170083" cy="158868"/>
          </a:xfrm>
          <a:custGeom>
            <a:avLst/>
            <a:gdLst>
              <a:gd name="T0" fmla="*/ 0 w 91"/>
              <a:gd name="T1" fmla="*/ 85 h 85"/>
              <a:gd name="T2" fmla="*/ 91 w 91"/>
              <a:gd name="T3" fmla="*/ 0 h 85"/>
              <a:gd name="T4" fmla="*/ 91 w 91"/>
              <a:gd name="T5" fmla="*/ 85 h 85"/>
              <a:gd name="T6" fmla="*/ 0 w 91"/>
              <a:gd name="T7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1" h="85">
                <a:moveTo>
                  <a:pt x="0" y="85"/>
                </a:moveTo>
                <a:lnTo>
                  <a:pt x="91" y="0"/>
                </a:lnTo>
                <a:lnTo>
                  <a:pt x="91" y="85"/>
                </a:lnTo>
                <a:lnTo>
                  <a:pt x="0" y="8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23" name="Freeform 37">
            <a:extLst>
              <a:ext uri="{FF2B5EF4-FFF2-40B4-BE49-F238E27FC236}">
                <a16:creationId xmlns:a16="http://schemas.microsoft.com/office/drawing/2014/main" id="{2794661C-9112-4ED9-95FB-3755F8F35254}"/>
              </a:ext>
            </a:extLst>
          </p:cNvPr>
          <p:cNvSpPr>
            <a:spLocks/>
          </p:cNvSpPr>
          <p:nvPr/>
        </p:nvSpPr>
        <p:spPr bwMode="auto">
          <a:xfrm>
            <a:off x="2799642" y="1457982"/>
            <a:ext cx="4939853" cy="1063480"/>
          </a:xfrm>
          <a:custGeom>
            <a:avLst/>
            <a:gdLst>
              <a:gd name="T0" fmla="*/ 2300 w 2643"/>
              <a:gd name="T1" fmla="*/ 569 h 569"/>
              <a:gd name="T2" fmla="*/ 330 w 2643"/>
              <a:gd name="T3" fmla="*/ 569 h 569"/>
              <a:gd name="T4" fmla="*/ 0 w 2643"/>
              <a:gd name="T5" fmla="*/ 0 h 569"/>
              <a:gd name="T6" fmla="*/ 2643 w 2643"/>
              <a:gd name="T7" fmla="*/ 0 h 569"/>
              <a:gd name="T8" fmla="*/ 2300 w 2643"/>
              <a:gd name="T9" fmla="*/ 569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3" h="569">
                <a:moveTo>
                  <a:pt x="2300" y="569"/>
                </a:moveTo>
                <a:lnTo>
                  <a:pt x="330" y="569"/>
                </a:lnTo>
                <a:lnTo>
                  <a:pt x="0" y="0"/>
                </a:lnTo>
                <a:lnTo>
                  <a:pt x="2643" y="0"/>
                </a:lnTo>
                <a:lnTo>
                  <a:pt x="2300" y="569"/>
                </a:lnTo>
                <a:close/>
              </a:path>
            </a:pathLst>
          </a:custGeom>
          <a:solidFill>
            <a:srgbClr val="5FB9C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28" name="Freeform 38">
            <a:extLst>
              <a:ext uri="{FF2B5EF4-FFF2-40B4-BE49-F238E27FC236}">
                <a16:creationId xmlns:a16="http://schemas.microsoft.com/office/drawing/2014/main" id="{FF80FCAC-5936-436B-94F2-C3DBF2F15B67}"/>
              </a:ext>
            </a:extLst>
          </p:cNvPr>
          <p:cNvSpPr>
            <a:spLocks/>
          </p:cNvSpPr>
          <p:nvPr/>
        </p:nvSpPr>
        <p:spPr bwMode="auto">
          <a:xfrm>
            <a:off x="2799642" y="1457982"/>
            <a:ext cx="4939853" cy="1063480"/>
          </a:xfrm>
          <a:custGeom>
            <a:avLst/>
            <a:gdLst>
              <a:gd name="T0" fmla="*/ 2300 w 2643"/>
              <a:gd name="T1" fmla="*/ 569 h 569"/>
              <a:gd name="T2" fmla="*/ 330 w 2643"/>
              <a:gd name="T3" fmla="*/ 569 h 569"/>
              <a:gd name="T4" fmla="*/ 0 w 2643"/>
              <a:gd name="T5" fmla="*/ 0 h 569"/>
              <a:gd name="T6" fmla="*/ 2643 w 2643"/>
              <a:gd name="T7" fmla="*/ 0 h 569"/>
              <a:gd name="T8" fmla="*/ 2300 w 2643"/>
              <a:gd name="T9" fmla="*/ 569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43" h="569">
                <a:moveTo>
                  <a:pt x="2300" y="569"/>
                </a:moveTo>
                <a:lnTo>
                  <a:pt x="330" y="569"/>
                </a:lnTo>
                <a:lnTo>
                  <a:pt x="0" y="0"/>
                </a:lnTo>
                <a:lnTo>
                  <a:pt x="2643" y="0"/>
                </a:lnTo>
                <a:lnTo>
                  <a:pt x="2300" y="569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44" name="Freeform 42">
            <a:extLst>
              <a:ext uri="{FF2B5EF4-FFF2-40B4-BE49-F238E27FC236}">
                <a16:creationId xmlns:a16="http://schemas.microsoft.com/office/drawing/2014/main" id="{FF46ADB9-BA72-4E34-A111-7B6F8CB0D87A}"/>
              </a:ext>
            </a:extLst>
          </p:cNvPr>
          <p:cNvSpPr>
            <a:spLocks/>
          </p:cNvSpPr>
          <p:nvPr/>
        </p:nvSpPr>
        <p:spPr bwMode="auto">
          <a:xfrm>
            <a:off x="3259424" y="2521462"/>
            <a:ext cx="3855814" cy="1067218"/>
          </a:xfrm>
          <a:custGeom>
            <a:avLst/>
            <a:gdLst>
              <a:gd name="T0" fmla="*/ 1727 w 2063"/>
              <a:gd name="T1" fmla="*/ 571 h 571"/>
              <a:gd name="T2" fmla="*/ 330 w 2063"/>
              <a:gd name="T3" fmla="*/ 571 h 571"/>
              <a:gd name="T4" fmla="*/ 0 w 2063"/>
              <a:gd name="T5" fmla="*/ 0 h 571"/>
              <a:gd name="T6" fmla="*/ 2063 w 2063"/>
              <a:gd name="T7" fmla="*/ 0 h 571"/>
              <a:gd name="T8" fmla="*/ 1727 w 2063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63" h="571">
                <a:moveTo>
                  <a:pt x="1727" y="571"/>
                </a:moveTo>
                <a:lnTo>
                  <a:pt x="330" y="571"/>
                </a:lnTo>
                <a:lnTo>
                  <a:pt x="0" y="0"/>
                </a:lnTo>
                <a:lnTo>
                  <a:pt x="2063" y="0"/>
                </a:lnTo>
                <a:lnTo>
                  <a:pt x="1727" y="571"/>
                </a:lnTo>
                <a:close/>
              </a:path>
            </a:pathLst>
          </a:custGeom>
          <a:solidFill>
            <a:srgbClr val="FF453A">
              <a:alpha val="98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45" name="Freeform 43">
            <a:extLst>
              <a:ext uri="{FF2B5EF4-FFF2-40B4-BE49-F238E27FC236}">
                <a16:creationId xmlns:a16="http://schemas.microsoft.com/office/drawing/2014/main" id="{003D37E8-A996-49DF-B42D-C0BC20131A82}"/>
              </a:ext>
            </a:extLst>
          </p:cNvPr>
          <p:cNvSpPr>
            <a:spLocks/>
          </p:cNvSpPr>
          <p:nvPr/>
        </p:nvSpPr>
        <p:spPr bwMode="auto">
          <a:xfrm>
            <a:off x="3259424" y="2521462"/>
            <a:ext cx="3855814" cy="1067218"/>
          </a:xfrm>
          <a:custGeom>
            <a:avLst/>
            <a:gdLst>
              <a:gd name="T0" fmla="*/ 1727 w 2063"/>
              <a:gd name="T1" fmla="*/ 571 h 571"/>
              <a:gd name="T2" fmla="*/ 330 w 2063"/>
              <a:gd name="T3" fmla="*/ 571 h 571"/>
              <a:gd name="T4" fmla="*/ 0 w 2063"/>
              <a:gd name="T5" fmla="*/ 0 h 571"/>
              <a:gd name="T6" fmla="*/ 2063 w 2063"/>
              <a:gd name="T7" fmla="*/ 0 h 571"/>
              <a:gd name="T8" fmla="*/ 1727 w 2063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63" h="571">
                <a:moveTo>
                  <a:pt x="1727" y="571"/>
                </a:moveTo>
                <a:lnTo>
                  <a:pt x="330" y="571"/>
                </a:lnTo>
                <a:lnTo>
                  <a:pt x="0" y="0"/>
                </a:lnTo>
                <a:lnTo>
                  <a:pt x="2063" y="0"/>
                </a:lnTo>
                <a:lnTo>
                  <a:pt x="1727" y="57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46" name="Freeform 44">
            <a:extLst>
              <a:ext uri="{FF2B5EF4-FFF2-40B4-BE49-F238E27FC236}">
                <a16:creationId xmlns:a16="http://schemas.microsoft.com/office/drawing/2014/main" id="{F4E66687-6FAA-45DC-B3A8-3315B2564506}"/>
              </a:ext>
            </a:extLst>
          </p:cNvPr>
          <p:cNvSpPr>
            <a:spLocks/>
          </p:cNvSpPr>
          <p:nvPr/>
        </p:nvSpPr>
        <p:spPr bwMode="auto">
          <a:xfrm>
            <a:off x="3730420" y="3588680"/>
            <a:ext cx="2764299" cy="1065348"/>
          </a:xfrm>
          <a:custGeom>
            <a:avLst/>
            <a:gdLst>
              <a:gd name="T0" fmla="*/ 1148 w 1479"/>
              <a:gd name="T1" fmla="*/ 570 h 570"/>
              <a:gd name="T2" fmla="*/ 325 w 1479"/>
              <a:gd name="T3" fmla="*/ 570 h 570"/>
              <a:gd name="T4" fmla="*/ 0 w 1479"/>
              <a:gd name="T5" fmla="*/ 0 h 570"/>
              <a:gd name="T6" fmla="*/ 1479 w 1479"/>
              <a:gd name="T7" fmla="*/ 0 h 570"/>
              <a:gd name="T8" fmla="*/ 1148 w 1479"/>
              <a:gd name="T9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79" h="570">
                <a:moveTo>
                  <a:pt x="1148" y="570"/>
                </a:moveTo>
                <a:lnTo>
                  <a:pt x="325" y="570"/>
                </a:lnTo>
                <a:lnTo>
                  <a:pt x="0" y="0"/>
                </a:lnTo>
                <a:lnTo>
                  <a:pt x="1479" y="0"/>
                </a:lnTo>
                <a:lnTo>
                  <a:pt x="1148" y="570"/>
                </a:lnTo>
                <a:close/>
              </a:path>
            </a:pathLst>
          </a:custGeom>
          <a:solidFill>
            <a:srgbClr val="0941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47" name="Freeform 45">
            <a:extLst>
              <a:ext uri="{FF2B5EF4-FFF2-40B4-BE49-F238E27FC236}">
                <a16:creationId xmlns:a16="http://schemas.microsoft.com/office/drawing/2014/main" id="{A1995E35-BD29-4DBA-BF03-35F9BD043985}"/>
              </a:ext>
            </a:extLst>
          </p:cNvPr>
          <p:cNvSpPr>
            <a:spLocks/>
          </p:cNvSpPr>
          <p:nvPr/>
        </p:nvSpPr>
        <p:spPr bwMode="auto">
          <a:xfrm>
            <a:off x="3730420" y="3588680"/>
            <a:ext cx="2764299" cy="1065348"/>
          </a:xfrm>
          <a:custGeom>
            <a:avLst/>
            <a:gdLst>
              <a:gd name="T0" fmla="*/ 1148 w 1479"/>
              <a:gd name="T1" fmla="*/ 570 h 570"/>
              <a:gd name="T2" fmla="*/ 325 w 1479"/>
              <a:gd name="T3" fmla="*/ 570 h 570"/>
              <a:gd name="T4" fmla="*/ 0 w 1479"/>
              <a:gd name="T5" fmla="*/ 0 h 570"/>
              <a:gd name="T6" fmla="*/ 1479 w 1479"/>
              <a:gd name="T7" fmla="*/ 0 h 570"/>
              <a:gd name="T8" fmla="*/ 1148 w 1479"/>
              <a:gd name="T9" fmla="*/ 57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79" h="570">
                <a:moveTo>
                  <a:pt x="1148" y="570"/>
                </a:moveTo>
                <a:lnTo>
                  <a:pt x="325" y="570"/>
                </a:lnTo>
                <a:lnTo>
                  <a:pt x="0" y="0"/>
                </a:lnTo>
                <a:lnTo>
                  <a:pt x="1479" y="0"/>
                </a:lnTo>
                <a:lnTo>
                  <a:pt x="1148" y="57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48" name="Freeform 46">
            <a:extLst>
              <a:ext uri="{FF2B5EF4-FFF2-40B4-BE49-F238E27FC236}">
                <a16:creationId xmlns:a16="http://schemas.microsoft.com/office/drawing/2014/main" id="{0DD2029B-2A81-4DFA-8BAC-D4FFB108F921}"/>
              </a:ext>
            </a:extLst>
          </p:cNvPr>
          <p:cNvSpPr>
            <a:spLocks/>
          </p:cNvSpPr>
          <p:nvPr/>
        </p:nvSpPr>
        <p:spPr bwMode="auto">
          <a:xfrm>
            <a:off x="3914008" y="4654029"/>
            <a:ext cx="1962062" cy="1067218"/>
          </a:xfrm>
          <a:custGeom>
            <a:avLst/>
            <a:gdLst>
              <a:gd name="T0" fmla="*/ 330 w 902"/>
              <a:gd name="T1" fmla="*/ 571 h 571"/>
              <a:gd name="T2" fmla="*/ 0 w 902"/>
              <a:gd name="T3" fmla="*/ 0 h 571"/>
              <a:gd name="T4" fmla="*/ 902 w 902"/>
              <a:gd name="T5" fmla="*/ 0 h 571"/>
              <a:gd name="T6" fmla="*/ 572 w 902"/>
              <a:gd name="T7" fmla="*/ 571 h 571"/>
              <a:gd name="T8" fmla="*/ 330 w 90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2" h="571">
                <a:moveTo>
                  <a:pt x="330" y="571"/>
                </a:moveTo>
                <a:lnTo>
                  <a:pt x="0" y="0"/>
                </a:lnTo>
                <a:lnTo>
                  <a:pt x="902" y="0"/>
                </a:lnTo>
                <a:lnTo>
                  <a:pt x="572" y="571"/>
                </a:lnTo>
                <a:lnTo>
                  <a:pt x="330" y="57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49" name="Freeform 47">
            <a:extLst>
              <a:ext uri="{FF2B5EF4-FFF2-40B4-BE49-F238E27FC236}">
                <a16:creationId xmlns:a16="http://schemas.microsoft.com/office/drawing/2014/main" id="{7B4AE315-C29A-47CD-93BC-724717C745DB}"/>
              </a:ext>
            </a:extLst>
          </p:cNvPr>
          <p:cNvSpPr>
            <a:spLocks/>
          </p:cNvSpPr>
          <p:nvPr/>
        </p:nvSpPr>
        <p:spPr bwMode="auto">
          <a:xfrm>
            <a:off x="4190202" y="4654029"/>
            <a:ext cx="1685867" cy="1067218"/>
          </a:xfrm>
          <a:custGeom>
            <a:avLst/>
            <a:gdLst>
              <a:gd name="T0" fmla="*/ 330 w 902"/>
              <a:gd name="T1" fmla="*/ 571 h 571"/>
              <a:gd name="T2" fmla="*/ 0 w 902"/>
              <a:gd name="T3" fmla="*/ 0 h 571"/>
              <a:gd name="T4" fmla="*/ 902 w 902"/>
              <a:gd name="T5" fmla="*/ 0 h 571"/>
              <a:gd name="T6" fmla="*/ 572 w 902"/>
              <a:gd name="T7" fmla="*/ 571 h 571"/>
              <a:gd name="T8" fmla="*/ 330 w 902"/>
              <a:gd name="T9" fmla="*/ 571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2" h="571">
                <a:moveTo>
                  <a:pt x="330" y="571"/>
                </a:moveTo>
                <a:lnTo>
                  <a:pt x="0" y="0"/>
                </a:lnTo>
                <a:lnTo>
                  <a:pt x="902" y="0"/>
                </a:lnTo>
                <a:lnTo>
                  <a:pt x="572" y="571"/>
                </a:lnTo>
                <a:lnTo>
                  <a:pt x="330" y="57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55" name="Freeform 73">
            <a:extLst>
              <a:ext uri="{FF2B5EF4-FFF2-40B4-BE49-F238E27FC236}">
                <a16:creationId xmlns:a16="http://schemas.microsoft.com/office/drawing/2014/main" id="{31BC41FF-59E0-4CA6-8B4F-9A6357249776}"/>
              </a:ext>
            </a:extLst>
          </p:cNvPr>
          <p:cNvSpPr>
            <a:spLocks noEditPoints="1"/>
          </p:cNvSpPr>
          <p:nvPr/>
        </p:nvSpPr>
        <p:spPr bwMode="auto">
          <a:xfrm>
            <a:off x="4864922" y="3949402"/>
            <a:ext cx="1704557" cy="2132567"/>
          </a:xfrm>
          <a:custGeom>
            <a:avLst/>
            <a:gdLst>
              <a:gd name="T0" fmla="*/ 4 w 912"/>
              <a:gd name="T1" fmla="*/ 1138 h 1141"/>
              <a:gd name="T2" fmla="*/ 0 w 912"/>
              <a:gd name="T3" fmla="*/ 1141 h 1141"/>
              <a:gd name="T4" fmla="*/ 1 w 912"/>
              <a:gd name="T5" fmla="*/ 1141 h 1141"/>
              <a:gd name="T6" fmla="*/ 4 w 912"/>
              <a:gd name="T7" fmla="*/ 1138 h 1141"/>
              <a:gd name="T8" fmla="*/ 588 w 912"/>
              <a:gd name="T9" fmla="*/ 570 h 1141"/>
              <a:gd name="T10" fmla="*/ 429 w 912"/>
              <a:gd name="T11" fmla="*/ 570 h 1141"/>
              <a:gd name="T12" fmla="*/ 429 w 912"/>
              <a:gd name="T13" fmla="*/ 570 h 1141"/>
              <a:gd name="T14" fmla="*/ 588 w 912"/>
              <a:gd name="T15" fmla="*/ 570 h 1141"/>
              <a:gd name="T16" fmla="*/ 588 w 912"/>
              <a:gd name="T17" fmla="*/ 570 h 1141"/>
              <a:gd name="T18" fmla="*/ 912 w 912"/>
              <a:gd name="T19" fmla="*/ 0 h 1141"/>
              <a:gd name="T20" fmla="*/ 760 w 912"/>
              <a:gd name="T21" fmla="*/ 0 h 1141"/>
              <a:gd name="T22" fmla="*/ 760 w 912"/>
              <a:gd name="T23" fmla="*/ 0 h 1141"/>
              <a:gd name="T24" fmla="*/ 912 w 912"/>
              <a:gd name="T25" fmla="*/ 0 h 1141"/>
              <a:gd name="T26" fmla="*/ 912 w 912"/>
              <a:gd name="T27" fmla="*/ 0 h 1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12" h="1141">
                <a:moveTo>
                  <a:pt x="4" y="1138"/>
                </a:moveTo>
                <a:lnTo>
                  <a:pt x="0" y="1141"/>
                </a:lnTo>
                <a:lnTo>
                  <a:pt x="1" y="1141"/>
                </a:lnTo>
                <a:lnTo>
                  <a:pt x="4" y="1138"/>
                </a:lnTo>
                <a:close/>
                <a:moveTo>
                  <a:pt x="588" y="570"/>
                </a:moveTo>
                <a:lnTo>
                  <a:pt x="429" y="570"/>
                </a:lnTo>
                <a:lnTo>
                  <a:pt x="429" y="570"/>
                </a:lnTo>
                <a:lnTo>
                  <a:pt x="588" y="570"/>
                </a:lnTo>
                <a:lnTo>
                  <a:pt x="588" y="570"/>
                </a:lnTo>
                <a:close/>
                <a:moveTo>
                  <a:pt x="912" y="0"/>
                </a:moveTo>
                <a:lnTo>
                  <a:pt x="760" y="0"/>
                </a:lnTo>
                <a:lnTo>
                  <a:pt x="760" y="0"/>
                </a:lnTo>
                <a:lnTo>
                  <a:pt x="912" y="0"/>
                </a:lnTo>
                <a:lnTo>
                  <a:pt x="912" y="0"/>
                </a:lnTo>
                <a:close/>
              </a:path>
            </a:pathLst>
          </a:cu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56" name="Freeform 74">
            <a:extLst>
              <a:ext uri="{FF2B5EF4-FFF2-40B4-BE49-F238E27FC236}">
                <a16:creationId xmlns:a16="http://schemas.microsoft.com/office/drawing/2014/main" id="{C9101221-4F33-4D4F-96D7-4FE29218F628}"/>
              </a:ext>
            </a:extLst>
          </p:cNvPr>
          <p:cNvSpPr>
            <a:spLocks noEditPoints="1"/>
          </p:cNvSpPr>
          <p:nvPr/>
        </p:nvSpPr>
        <p:spPr bwMode="auto">
          <a:xfrm>
            <a:off x="4864922" y="3949402"/>
            <a:ext cx="1704557" cy="2132567"/>
          </a:xfrm>
          <a:custGeom>
            <a:avLst/>
            <a:gdLst>
              <a:gd name="T0" fmla="*/ 4 w 912"/>
              <a:gd name="T1" fmla="*/ 1138 h 1141"/>
              <a:gd name="T2" fmla="*/ 0 w 912"/>
              <a:gd name="T3" fmla="*/ 1141 h 1141"/>
              <a:gd name="T4" fmla="*/ 1 w 912"/>
              <a:gd name="T5" fmla="*/ 1141 h 1141"/>
              <a:gd name="T6" fmla="*/ 4 w 912"/>
              <a:gd name="T7" fmla="*/ 1138 h 1141"/>
              <a:gd name="T8" fmla="*/ 588 w 912"/>
              <a:gd name="T9" fmla="*/ 570 h 1141"/>
              <a:gd name="T10" fmla="*/ 429 w 912"/>
              <a:gd name="T11" fmla="*/ 570 h 1141"/>
              <a:gd name="T12" fmla="*/ 429 w 912"/>
              <a:gd name="T13" fmla="*/ 570 h 1141"/>
              <a:gd name="T14" fmla="*/ 588 w 912"/>
              <a:gd name="T15" fmla="*/ 570 h 1141"/>
              <a:gd name="T16" fmla="*/ 588 w 912"/>
              <a:gd name="T17" fmla="*/ 570 h 1141"/>
              <a:gd name="T18" fmla="*/ 912 w 912"/>
              <a:gd name="T19" fmla="*/ 0 h 1141"/>
              <a:gd name="T20" fmla="*/ 760 w 912"/>
              <a:gd name="T21" fmla="*/ 0 h 1141"/>
              <a:gd name="T22" fmla="*/ 760 w 912"/>
              <a:gd name="T23" fmla="*/ 0 h 1141"/>
              <a:gd name="T24" fmla="*/ 912 w 912"/>
              <a:gd name="T25" fmla="*/ 0 h 1141"/>
              <a:gd name="T26" fmla="*/ 912 w 912"/>
              <a:gd name="T27" fmla="*/ 0 h 1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12" h="1141">
                <a:moveTo>
                  <a:pt x="4" y="1138"/>
                </a:moveTo>
                <a:lnTo>
                  <a:pt x="0" y="1141"/>
                </a:lnTo>
                <a:lnTo>
                  <a:pt x="1" y="1141"/>
                </a:lnTo>
                <a:lnTo>
                  <a:pt x="4" y="1138"/>
                </a:lnTo>
                <a:moveTo>
                  <a:pt x="588" y="570"/>
                </a:moveTo>
                <a:lnTo>
                  <a:pt x="429" y="570"/>
                </a:lnTo>
                <a:lnTo>
                  <a:pt x="429" y="570"/>
                </a:lnTo>
                <a:lnTo>
                  <a:pt x="588" y="570"/>
                </a:lnTo>
                <a:lnTo>
                  <a:pt x="588" y="570"/>
                </a:lnTo>
                <a:moveTo>
                  <a:pt x="912" y="0"/>
                </a:moveTo>
                <a:lnTo>
                  <a:pt x="760" y="0"/>
                </a:lnTo>
                <a:lnTo>
                  <a:pt x="760" y="0"/>
                </a:lnTo>
                <a:lnTo>
                  <a:pt x="912" y="0"/>
                </a:lnTo>
                <a:lnTo>
                  <a:pt x="91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57" name="Freeform 76">
            <a:extLst>
              <a:ext uri="{FF2B5EF4-FFF2-40B4-BE49-F238E27FC236}">
                <a16:creationId xmlns:a16="http://schemas.microsoft.com/office/drawing/2014/main" id="{BD003F21-983A-49B7-97F4-AAFB843B2D61}"/>
              </a:ext>
            </a:extLst>
          </p:cNvPr>
          <p:cNvSpPr>
            <a:spLocks/>
          </p:cNvSpPr>
          <p:nvPr/>
        </p:nvSpPr>
        <p:spPr bwMode="auto">
          <a:xfrm>
            <a:off x="4866792" y="5014751"/>
            <a:ext cx="1097122" cy="1067218"/>
          </a:xfrm>
          <a:custGeom>
            <a:avLst/>
            <a:gdLst>
              <a:gd name="T0" fmla="*/ 587 w 587"/>
              <a:gd name="T1" fmla="*/ 0 h 571"/>
              <a:gd name="T2" fmla="*/ 428 w 587"/>
              <a:gd name="T3" fmla="*/ 0 h 571"/>
              <a:gd name="T4" fmla="*/ 210 w 587"/>
              <a:gd name="T5" fmla="*/ 378 h 571"/>
              <a:gd name="T6" fmla="*/ 208 w 587"/>
              <a:gd name="T7" fmla="*/ 378 h 571"/>
              <a:gd name="T8" fmla="*/ 3 w 587"/>
              <a:gd name="T9" fmla="*/ 568 h 571"/>
              <a:gd name="T10" fmla="*/ 0 w 587"/>
              <a:gd name="T11" fmla="*/ 571 h 571"/>
              <a:gd name="T12" fmla="*/ 263 w 587"/>
              <a:gd name="T13" fmla="*/ 571 h 571"/>
              <a:gd name="T14" fmla="*/ 587 w 587"/>
              <a:gd name="T15" fmla="*/ 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7" h="571">
                <a:moveTo>
                  <a:pt x="587" y="0"/>
                </a:moveTo>
                <a:lnTo>
                  <a:pt x="428" y="0"/>
                </a:lnTo>
                <a:lnTo>
                  <a:pt x="210" y="378"/>
                </a:lnTo>
                <a:lnTo>
                  <a:pt x="208" y="378"/>
                </a:lnTo>
                <a:lnTo>
                  <a:pt x="3" y="568"/>
                </a:lnTo>
                <a:lnTo>
                  <a:pt x="0" y="571"/>
                </a:lnTo>
                <a:lnTo>
                  <a:pt x="263" y="571"/>
                </a:lnTo>
                <a:lnTo>
                  <a:pt x="58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69" name="Freeform 95">
            <a:extLst>
              <a:ext uri="{FF2B5EF4-FFF2-40B4-BE49-F238E27FC236}">
                <a16:creationId xmlns:a16="http://schemas.microsoft.com/office/drawing/2014/main" id="{E1C47E89-8698-4F6F-B5EE-5F9A0C5EC000}"/>
              </a:ext>
            </a:extLst>
          </p:cNvPr>
          <p:cNvSpPr>
            <a:spLocks/>
          </p:cNvSpPr>
          <p:nvPr/>
        </p:nvSpPr>
        <p:spPr bwMode="auto">
          <a:xfrm>
            <a:off x="4866792" y="5721245"/>
            <a:ext cx="392497" cy="360724"/>
          </a:xfrm>
          <a:custGeom>
            <a:avLst/>
            <a:gdLst>
              <a:gd name="T0" fmla="*/ 210 w 210"/>
              <a:gd name="T1" fmla="*/ 0 h 193"/>
              <a:gd name="T2" fmla="*/ 0 w 210"/>
              <a:gd name="T3" fmla="*/ 193 h 193"/>
              <a:gd name="T4" fmla="*/ 112 w 210"/>
              <a:gd name="T5" fmla="*/ 0 h 193"/>
              <a:gd name="T6" fmla="*/ 210 w 210"/>
              <a:gd name="T7" fmla="*/ 0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0" h="193">
                <a:moveTo>
                  <a:pt x="210" y="0"/>
                </a:moveTo>
                <a:lnTo>
                  <a:pt x="0" y="193"/>
                </a:lnTo>
                <a:lnTo>
                  <a:pt x="112" y="0"/>
                </a:lnTo>
                <a:lnTo>
                  <a:pt x="210" y="0"/>
                </a:lnTo>
                <a:close/>
              </a:path>
            </a:pathLst>
          </a:custGeom>
          <a:solidFill>
            <a:srgbClr val="514A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70" name="Rectangle 96">
            <a:extLst>
              <a:ext uri="{FF2B5EF4-FFF2-40B4-BE49-F238E27FC236}">
                <a16:creationId xmlns:a16="http://schemas.microsoft.com/office/drawing/2014/main" id="{D9417F14-1650-4298-A408-6A5B50D0CE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5947" y="6081968"/>
            <a:ext cx="927040" cy="1870"/>
          </a:xfrm>
          <a:prstGeom prst="rect">
            <a:avLst/>
          </a:prstGeom>
          <a:solidFill>
            <a:srgbClr val="D1D3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71" name="Freeform 97">
            <a:extLst>
              <a:ext uri="{FF2B5EF4-FFF2-40B4-BE49-F238E27FC236}">
                <a16:creationId xmlns:a16="http://schemas.microsoft.com/office/drawing/2014/main" id="{C27BC879-FA29-4911-B069-289A0E2213EB}"/>
              </a:ext>
            </a:extLst>
          </p:cNvPr>
          <p:cNvSpPr>
            <a:spLocks/>
          </p:cNvSpPr>
          <p:nvPr/>
        </p:nvSpPr>
        <p:spPr bwMode="auto">
          <a:xfrm>
            <a:off x="9045947" y="6081968"/>
            <a:ext cx="927040" cy="0"/>
          </a:xfrm>
          <a:custGeom>
            <a:avLst/>
            <a:gdLst>
              <a:gd name="T0" fmla="*/ 496 w 496"/>
              <a:gd name="T1" fmla="*/ 0 w 496"/>
              <a:gd name="T2" fmla="*/ 0 w 496"/>
              <a:gd name="T3" fmla="*/ 496 w 49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</a:cxnLst>
            <a:rect l="0" t="0" r="r" b="b"/>
            <a:pathLst>
              <a:path w="496">
                <a:moveTo>
                  <a:pt x="496" y="0"/>
                </a:moveTo>
                <a:lnTo>
                  <a:pt x="0" y="0"/>
                </a:lnTo>
                <a:lnTo>
                  <a:pt x="0" y="0"/>
                </a:lnTo>
                <a:lnTo>
                  <a:pt x="49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72" name="Oval 107">
            <a:extLst>
              <a:ext uri="{FF2B5EF4-FFF2-40B4-BE49-F238E27FC236}">
                <a16:creationId xmlns:a16="http://schemas.microsoft.com/office/drawing/2014/main" id="{5E7D63B6-A612-4137-B071-6BCEF56CA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2183" y="5014751"/>
            <a:ext cx="1065348" cy="1067218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73" name="Oval 108">
            <a:extLst>
              <a:ext uri="{FF2B5EF4-FFF2-40B4-BE49-F238E27FC236}">
                <a16:creationId xmlns:a16="http://schemas.microsoft.com/office/drawing/2014/main" id="{40EE2174-098F-4FCB-8A74-ED2410736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2183" y="1818706"/>
            <a:ext cx="1065348" cy="1067218"/>
          </a:xfrm>
          <a:prstGeom prst="ellipse">
            <a:avLst/>
          </a:prstGeom>
          <a:solidFill>
            <a:srgbClr val="0941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74" name="Oval 109">
            <a:extLst>
              <a:ext uri="{FF2B5EF4-FFF2-40B4-BE49-F238E27FC236}">
                <a16:creationId xmlns:a16="http://schemas.microsoft.com/office/drawing/2014/main" id="{09C0061A-6AAA-44B9-BDA8-44F99E4823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2183" y="2885923"/>
            <a:ext cx="1065348" cy="1063480"/>
          </a:xfrm>
          <a:prstGeom prst="ellipse">
            <a:avLst/>
          </a:prstGeom>
          <a:solidFill>
            <a:srgbClr val="FF453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75" name="Oval 110">
            <a:extLst>
              <a:ext uri="{FF2B5EF4-FFF2-40B4-BE49-F238E27FC236}">
                <a16:creationId xmlns:a16="http://schemas.microsoft.com/office/drawing/2014/main" id="{83128D50-31C8-4E82-A701-17EAA3985D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2183" y="3949403"/>
            <a:ext cx="1065348" cy="1065348"/>
          </a:xfrm>
          <a:prstGeom prst="ellipse">
            <a:avLst/>
          </a:prstGeom>
          <a:solidFill>
            <a:srgbClr val="5FB9C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76" name="Oval 108">
            <a:extLst>
              <a:ext uri="{FF2B5EF4-FFF2-40B4-BE49-F238E27FC236}">
                <a16:creationId xmlns:a16="http://schemas.microsoft.com/office/drawing/2014/main" id="{E66FA866-2960-4242-AD2A-E4F5ADF642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29875" y="1906551"/>
            <a:ext cx="889963" cy="89152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77" name="Oval 108">
            <a:extLst>
              <a:ext uri="{FF2B5EF4-FFF2-40B4-BE49-F238E27FC236}">
                <a16:creationId xmlns:a16="http://schemas.microsoft.com/office/drawing/2014/main" id="{C6A67520-2B18-4AA6-B49D-9AABD80F8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29875" y="2973769"/>
            <a:ext cx="889963" cy="89152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78" name="Oval 108">
            <a:extLst>
              <a:ext uri="{FF2B5EF4-FFF2-40B4-BE49-F238E27FC236}">
                <a16:creationId xmlns:a16="http://schemas.microsoft.com/office/drawing/2014/main" id="{D56DA526-B4B1-4461-A8E9-3B8ABC2F8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29875" y="4030708"/>
            <a:ext cx="889963" cy="89152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79" name="Oval 108">
            <a:extLst>
              <a:ext uri="{FF2B5EF4-FFF2-40B4-BE49-F238E27FC236}">
                <a16:creationId xmlns:a16="http://schemas.microsoft.com/office/drawing/2014/main" id="{4B130F7F-E2FA-4320-B81F-64FD1D8BFA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29875" y="5096055"/>
            <a:ext cx="889963" cy="89152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F49F1D5A-22BD-4DAB-A9D4-4AD9BD4877CC}"/>
              </a:ext>
            </a:extLst>
          </p:cNvPr>
          <p:cNvSpPr/>
          <p:nvPr/>
        </p:nvSpPr>
        <p:spPr>
          <a:xfrm>
            <a:off x="494666" y="1678775"/>
            <a:ext cx="2378961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New York City Work-Based Learning Program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Montserrat" pitchFamily="2" charset="0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AC95BA53-FA99-49F4-955C-C9D432BD49C2}"/>
              </a:ext>
            </a:extLst>
          </p:cNvPr>
          <p:cNvSpPr/>
          <p:nvPr/>
        </p:nvSpPr>
        <p:spPr>
          <a:xfrm>
            <a:off x="505722" y="2742255"/>
            <a:ext cx="2356848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Rhode Island Credit-For Learning Program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Montserrat" pitchFamily="2" charset="0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BFEABB44-C2B3-4C1C-93DD-66B81223F82A}"/>
              </a:ext>
            </a:extLst>
          </p:cNvPr>
          <p:cNvSpPr/>
          <p:nvPr/>
        </p:nvSpPr>
        <p:spPr>
          <a:xfrm>
            <a:off x="634350" y="3705630"/>
            <a:ext cx="2065280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Alabama Expanded Learning Alliance (AELA)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Montserrat" pitchFamily="2" charset="0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E9B3FDE3-F863-4CF8-89A8-F607560051B3}"/>
              </a:ext>
            </a:extLst>
          </p:cNvPr>
          <p:cNvSpPr/>
          <p:nvPr/>
        </p:nvSpPr>
        <p:spPr>
          <a:xfrm>
            <a:off x="478990" y="4784129"/>
            <a:ext cx="2254849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Alabama State Department of Education Sample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Montserrat" pitchFamily="2" charset="0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8DF2C3AD-3EDE-4ABC-8ECA-66859540BA06}"/>
              </a:ext>
            </a:extLst>
          </p:cNvPr>
          <p:cNvSpPr/>
          <p:nvPr/>
        </p:nvSpPr>
        <p:spPr>
          <a:xfrm>
            <a:off x="3111771" y="1789672"/>
            <a:ext cx="3812885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ontserrat" pitchFamily="2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pandEDSchools</a:t>
            </a:r>
            <a:endParaRPr lang="en-US" sz="2000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ED90B674-7888-4CE0-9673-97FC7FF05230}"/>
              </a:ext>
            </a:extLst>
          </p:cNvPr>
          <p:cNvSpPr/>
          <p:nvPr/>
        </p:nvSpPr>
        <p:spPr>
          <a:xfrm>
            <a:off x="3730419" y="2547243"/>
            <a:ext cx="2895845" cy="101566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ontserrat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Young Voices ANC: Your Voice, Your Power </a:t>
            </a:r>
            <a:endParaRPr lang="en-US" sz="2000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A2A8B7E2-42A1-4E10-997D-1CD07E776778}"/>
              </a:ext>
            </a:extLst>
          </p:cNvPr>
          <p:cNvSpPr/>
          <p:nvPr/>
        </p:nvSpPr>
        <p:spPr>
          <a:xfrm>
            <a:off x="4022662" y="4657093"/>
            <a:ext cx="1770497" cy="70788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ontserrat" pitchFamily="2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SDE Sample</a:t>
            </a:r>
            <a:endParaRPr lang="en-US" sz="2000" dirty="0">
              <a:solidFill>
                <a:schemeClr val="bg1"/>
              </a:solidFill>
              <a:latin typeface="Montserrat" pitchFamily="2" charset="0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DA2170CF-0F06-4910-A257-AEA6F754554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335844" y="1981114"/>
            <a:ext cx="2102623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Montserrat" pitchFamily="2" charset="0"/>
              </a:rPr>
              <a:t>Elements of Work-Based Learning Programs Design 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A4D66ED6-9F90-427A-825C-C1E263E713A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928372" y="3048332"/>
            <a:ext cx="2510096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Montserrat" pitchFamily="2" charset="0"/>
              </a:rPr>
              <a:t>Assesses Quality of Credit-for-Learning Programs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48DF4D82-E74D-441A-94C5-148A13A130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24550" y="5117492"/>
            <a:ext cx="3717527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Montserrat" pitchFamily="2" charset="0"/>
              </a:rPr>
              <a:t>Grading Extended Learning Opportunities (ELO) – Can be Used Formatively or Summatively</a:t>
            </a:r>
          </a:p>
        </p:txBody>
      </p:sp>
      <p:sp>
        <p:nvSpPr>
          <p:cNvPr id="205" name="Freeform 1671">
            <a:extLst>
              <a:ext uri="{FF2B5EF4-FFF2-40B4-BE49-F238E27FC236}">
                <a16:creationId xmlns:a16="http://schemas.microsoft.com/office/drawing/2014/main" id="{42F8710A-FF3A-44D2-B961-F483E1894BD0}"/>
              </a:ext>
            </a:extLst>
          </p:cNvPr>
          <p:cNvSpPr>
            <a:spLocks noEditPoints="1"/>
          </p:cNvSpPr>
          <p:nvPr/>
        </p:nvSpPr>
        <p:spPr bwMode="auto">
          <a:xfrm>
            <a:off x="9831981" y="2209439"/>
            <a:ext cx="285750" cy="285750"/>
          </a:xfrm>
          <a:custGeom>
            <a:avLst/>
            <a:gdLst>
              <a:gd name="T0" fmla="*/ 279 w 719"/>
              <a:gd name="T1" fmla="*/ 477 h 719"/>
              <a:gd name="T2" fmla="*/ 197 w 719"/>
              <a:gd name="T3" fmla="*/ 387 h 719"/>
              <a:gd name="T4" fmla="*/ 217 w 719"/>
              <a:gd name="T5" fmla="*/ 382 h 719"/>
              <a:gd name="T6" fmla="*/ 515 w 719"/>
              <a:gd name="T7" fmla="*/ 243 h 719"/>
              <a:gd name="T8" fmla="*/ 519 w 719"/>
              <a:gd name="T9" fmla="*/ 263 h 719"/>
              <a:gd name="T10" fmla="*/ 709 w 719"/>
              <a:gd name="T11" fmla="*/ 323 h 719"/>
              <a:gd name="T12" fmla="*/ 687 w 719"/>
              <a:gd name="T13" fmla="*/ 289 h 719"/>
              <a:gd name="T14" fmla="*/ 696 w 719"/>
              <a:gd name="T15" fmla="*/ 243 h 719"/>
              <a:gd name="T16" fmla="*/ 675 w 719"/>
              <a:gd name="T17" fmla="*/ 199 h 719"/>
              <a:gd name="T18" fmla="*/ 631 w 719"/>
              <a:gd name="T19" fmla="*/ 179 h 719"/>
              <a:gd name="T20" fmla="*/ 630 w 719"/>
              <a:gd name="T21" fmla="*/ 131 h 719"/>
              <a:gd name="T22" fmla="*/ 603 w 719"/>
              <a:gd name="T23" fmla="*/ 98 h 719"/>
              <a:gd name="T24" fmla="*/ 569 w 719"/>
              <a:gd name="T25" fmla="*/ 87 h 719"/>
              <a:gd name="T26" fmla="*/ 536 w 719"/>
              <a:gd name="T27" fmla="*/ 70 h 719"/>
              <a:gd name="T28" fmla="*/ 507 w 719"/>
              <a:gd name="T29" fmla="*/ 34 h 719"/>
              <a:gd name="T30" fmla="*/ 458 w 719"/>
              <a:gd name="T31" fmla="*/ 25 h 719"/>
              <a:gd name="T32" fmla="*/ 418 w 719"/>
              <a:gd name="T33" fmla="*/ 31 h 719"/>
              <a:gd name="T34" fmla="*/ 380 w 719"/>
              <a:gd name="T35" fmla="*/ 4 h 719"/>
              <a:gd name="T36" fmla="*/ 331 w 719"/>
              <a:gd name="T37" fmla="*/ 7 h 719"/>
              <a:gd name="T38" fmla="*/ 296 w 719"/>
              <a:gd name="T39" fmla="*/ 39 h 719"/>
              <a:gd name="T40" fmla="*/ 251 w 719"/>
              <a:gd name="T41" fmla="*/ 24 h 719"/>
              <a:gd name="T42" fmla="*/ 205 w 719"/>
              <a:gd name="T43" fmla="*/ 39 h 719"/>
              <a:gd name="T44" fmla="*/ 180 w 719"/>
              <a:gd name="T45" fmla="*/ 79 h 719"/>
              <a:gd name="T46" fmla="*/ 142 w 719"/>
              <a:gd name="T47" fmla="*/ 88 h 719"/>
              <a:gd name="T48" fmla="*/ 111 w 719"/>
              <a:gd name="T49" fmla="*/ 102 h 719"/>
              <a:gd name="T50" fmla="*/ 86 w 719"/>
              <a:gd name="T51" fmla="*/ 141 h 719"/>
              <a:gd name="T52" fmla="*/ 78 w 719"/>
              <a:gd name="T53" fmla="*/ 180 h 719"/>
              <a:gd name="T54" fmla="*/ 37 w 719"/>
              <a:gd name="T55" fmla="*/ 207 h 719"/>
              <a:gd name="T56" fmla="*/ 22 w 719"/>
              <a:gd name="T57" fmla="*/ 252 h 719"/>
              <a:gd name="T58" fmla="*/ 38 w 719"/>
              <a:gd name="T59" fmla="*/ 296 h 719"/>
              <a:gd name="T60" fmla="*/ 6 w 719"/>
              <a:gd name="T61" fmla="*/ 332 h 719"/>
              <a:gd name="T62" fmla="*/ 3 w 719"/>
              <a:gd name="T63" fmla="*/ 380 h 719"/>
              <a:gd name="T64" fmla="*/ 31 w 719"/>
              <a:gd name="T65" fmla="*/ 420 h 719"/>
              <a:gd name="T66" fmla="*/ 23 w 719"/>
              <a:gd name="T67" fmla="*/ 460 h 719"/>
              <a:gd name="T68" fmla="*/ 32 w 719"/>
              <a:gd name="T69" fmla="*/ 507 h 719"/>
              <a:gd name="T70" fmla="*/ 68 w 719"/>
              <a:gd name="T71" fmla="*/ 538 h 719"/>
              <a:gd name="T72" fmla="*/ 85 w 719"/>
              <a:gd name="T73" fmla="*/ 571 h 719"/>
              <a:gd name="T74" fmla="*/ 106 w 719"/>
              <a:gd name="T75" fmla="*/ 615 h 719"/>
              <a:gd name="T76" fmla="*/ 135 w 719"/>
              <a:gd name="T77" fmla="*/ 633 h 719"/>
              <a:gd name="T78" fmla="*/ 177 w 719"/>
              <a:gd name="T79" fmla="*/ 633 h 719"/>
              <a:gd name="T80" fmla="*/ 197 w 719"/>
              <a:gd name="T81" fmla="*/ 676 h 719"/>
              <a:gd name="T82" fmla="*/ 242 w 719"/>
              <a:gd name="T83" fmla="*/ 698 h 719"/>
              <a:gd name="T84" fmla="*/ 288 w 719"/>
              <a:gd name="T85" fmla="*/ 687 h 719"/>
              <a:gd name="T86" fmla="*/ 322 w 719"/>
              <a:gd name="T87" fmla="*/ 709 h 719"/>
              <a:gd name="T88" fmla="*/ 370 w 719"/>
              <a:gd name="T89" fmla="*/ 719 h 719"/>
              <a:gd name="T90" fmla="*/ 412 w 719"/>
              <a:gd name="T91" fmla="*/ 697 h 719"/>
              <a:gd name="T92" fmla="*/ 449 w 719"/>
              <a:gd name="T93" fmla="*/ 695 h 719"/>
              <a:gd name="T94" fmla="*/ 497 w 719"/>
              <a:gd name="T95" fmla="*/ 693 h 719"/>
              <a:gd name="T96" fmla="*/ 533 w 719"/>
              <a:gd name="T97" fmla="*/ 661 h 719"/>
              <a:gd name="T98" fmla="*/ 563 w 719"/>
              <a:gd name="T99" fmla="*/ 635 h 719"/>
              <a:gd name="T100" fmla="*/ 597 w 719"/>
              <a:gd name="T101" fmla="*/ 628 h 719"/>
              <a:gd name="T102" fmla="*/ 626 w 719"/>
              <a:gd name="T103" fmla="*/ 599 h 719"/>
              <a:gd name="T104" fmla="*/ 634 w 719"/>
              <a:gd name="T105" fmla="*/ 551 h 719"/>
              <a:gd name="T106" fmla="*/ 668 w 719"/>
              <a:gd name="T107" fmla="*/ 528 h 719"/>
              <a:gd name="T108" fmla="*/ 694 w 719"/>
              <a:gd name="T109" fmla="*/ 488 h 719"/>
              <a:gd name="T110" fmla="*/ 691 w 719"/>
              <a:gd name="T111" fmla="*/ 441 h 719"/>
              <a:gd name="T112" fmla="*/ 703 w 719"/>
              <a:gd name="T113" fmla="*/ 406 h 719"/>
              <a:gd name="T114" fmla="*/ 719 w 719"/>
              <a:gd name="T115" fmla="*/ 36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8" y="477"/>
                </a:lnTo>
                <a:lnTo>
                  <a:pt x="285" y="479"/>
                </a:lnTo>
                <a:lnTo>
                  <a:pt x="279" y="477"/>
                </a:lnTo>
                <a:lnTo>
                  <a:pt x="276" y="475"/>
                </a:lnTo>
                <a:lnTo>
                  <a:pt x="200" y="400"/>
                </a:lnTo>
                <a:lnTo>
                  <a:pt x="197" y="396"/>
                </a:lnTo>
                <a:lnTo>
                  <a:pt x="196" y="391"/>
                </a:lnTo>
                <a:lnTo>
                  <a:pt x="197" y="387"/>
                </a:lnTo>
                <a:lnTo>
                  <a:pt x="200" y="382"/>
                </a:lnTo>
                <a:lnTo>
                  <a:pt x="204" y="380"/>
                </a:lnTo>
                <a:lnTo>
                  <a:pt x="208" y="379"/>
                </a:lnTo>
                <a:lnTo>
                  <a:pt x="213" y="380"/>
                </a:lnTo>
                <a:lnTo>
                  <a:pt x="217" y="382"/>
                </a:lnTo>
                <a:lnTo>
                  <a:pt x="285" y="450"/>
                </a:lnTo>
                <a:lnTo>
                  <a:pt x="502" y="247"/>
                </a:lnTo>
                <a:lnTo>
                  <a:pt x="507" y="243"/>
                </a:lnTo>
                <a:lnTo>
                  <a:pt x="511" y="243"/>
                </a:lnTo>
                <a:lnTo>
                  <a:pt x="515" y="243"/>
                </a:lnTo>
                <a:lnTo>
                  <a:pt x="520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19" y="360"/>
                </a:moveTo>
                <a:lnTo>
                  <a:pt x="719" y="350"/>
                </a:lnTo>
                <a:lnTo>
                  <a:pt x="716" y="341"/>
                </a:lnTo>
                <a:lnTo>
                  <a:pt x="713" y="332"/>
                </a:lnTo>
                <a:lnTo>
                  <a:pt x="709" y="323"/>
                </a:lnTo>
                <a:lnTo>
                  <a:pt x="703" y="315"/>
                </a:lnTo>
                <a:lnTo>
                  <a:pt x="696" y="308"/>
                </a:lnTo>
                <a:lnTo>
                  <a:pt x="689" y="302"/>
                </a:lnTo>
                <a:lnTo>
                  <a:pt x="681" y="296"/>
                </a:lnTo>
                <a:lnTo>
                  <a:pt x="687" y="289"/>
                </a:lnTo>
                <a:lnTo>
                  <a:pt x="691" y="280"/>
                </a:lnTo>
                <a:lnTo>
                  <a:pt x="694" y="271"/>
                </a:lnTo>
                <a:lnTo>
                  <a:pt x="696" y="262"/>
                </a:lnTo>
                <a:lnTo>
                  <a:pt x="696" y="252"/>
                </a:lnTo>
                <a:lnTo>
                  <a:pt x="696" y="243"/>
                </a:lnTo>
                <a:lnTo>
                  <a:pt x="694" y="233"/>
                </a:lnTo>
                <a:lnTo>
                  <a:pt x="692" y="223"/>
                </a:lnTo>
                <a:lnTo>
                  <a:pt x="688" y="215"/>
                </a:lnTo>
                <a:lnTo>
                  <a:pt x="682" y="207"/>
                </a:lnTo>
                <a:lnTo>
                  <a:pt x="675" y="199"/>
                </a:lnTo>
                <a:lnTo>
                  <a:pt x="668" y="193"/>
                </a:lnTo>
                <a:lnTo>
                  <a:pt x="660" y="188"/>
                </a:lnTo>
                <a:lnTo>
                  <a:pt x="651" y="184"/>
                </a:lnTo>
                <a:lnTo>
                  <a:pt x="641" y="180"/>
                </a:lnTo>
                <a:lnTo>
                  <a:pt x="631" y="179"/>
                </a:lnTo>
                <a:lnTo>
                  <a:pt x="634" y="169"/>
                </a:lnTo>
                <a:lnTo>
                  <a:pt x="635" y="161"/>
                </a:lnTo>
                <a:lnTo>
                  <a:pt x="635" y="151"/>
                </a:lnTo>
                <a:lnTo>
                  <a:pt x="632" y="141"/>
                </a:lnTo>
                <a:lnTo>
                  <a:pt x="630" y="131"/>
                </a:lnTo>
                <a:lnTo>
                  <a:pt x="626" y="122"/>
                </a:lnTo>
                <a:lnTo>
                  <a:pt x="620" y="114"/>
                </a:lnTo>
                <a:lnTo>
                  <a:pt x="614" y="106"/>
                </a:lnTo>
                <a:lnTo>
                  <a:pt x="608" y="102"/>
                </a:lnTo>
                <a:lnTo>
                  <a:pt x="603" y="98"/>
                </a:lnTo>
                <a:lnTo>
                  <a:pt x="597" y="94"/>
                </a:lnTo>
                <a:lnTo>
                  <a:pt x="590" y="91"/>
                </a:lnTo>
                <a:lnTo>
                  <a:pt x="584" y="89"/>
                </a:lnTo>
                <a:lnTo>
                  <a:pt x="577" y="88"/>
                </a:lnTo>
                <a:lnTo>
                  <a:pt x="569" y="87"/>
                </a:lnTo>
                <a:lnTo>
                  <a:pt x="563" y="85"/>
                </a:lnTo>
                <a:lnTo>
                  <a:pt x="552" y="87"/>
                </a:lnTo>
                <a:lnTo>
                  <a:pt x="542" y="89"/>
                </a:lnTo>
                <a:lnTo>
                  <a:pt x="540" y="79"/>
                </a:lnTo>
                <a:lnTo>
                  <a:pt x="536" y="70"/>
                </a:lnTo>
                <a:lnTo>
                  <a:pt x="533" y="61"/>
                </a:lnTo>
                <a:lnTo>
                  <a:pt x="528" y="53"/>
                </a:lnTo>
                <a:lnTo>
                  <a:pt x="522" y="46"/>
                </a:lnTo>
                <a:lnTo>
                  <a:pt x="514" y="39"/>
                </a:lnTo>
                <a:lnTo>
                  <a:pt x="507" y="34"/>
                </a:lnTo>
                <a:lnTo>
                  <a:pt x="497" y="28"/>
                </a:lnTo>
                <a:lnTo>
                  <a:pt x="488" y="26"/>
                </a:lnTo>
                <a:lnTo>
                  <a:pt x="478" y="24"/>
                </a:lnTo>
                <a:lnTo>
                  <a:pt x="468" y="24"/>
                </a:lnTo>
                <a:lnTo>
                  <a:pt x="458" y="25"/>
                </a:lnTo>
                <a:lnTo>
                  <a:pt x="449" y="27"/>
                </a:lnTo>
                <a:lnTo>
                  <a:pt x="440" y="29"/>
                </a:lnTo>
                <a:lnTo>
                  <a:pt x="431" y="34"/>
                </a:lnTo>
                <a:lnTo>
                  <a:pt x="424" y="39"/>
                </a:lnTo>
                <a:lnTo>
                  <a:pt x="418" y="31"/>
                </a:lnTo>
                <a:lnTo>
                  <a:pt x="412" y="24"/>
                </a:lnTo>
                <a:lnTo>
                  <a:pt x="405" y="17"/>
                </a:lnTo>
                <a:lnTo>
                  <a:pt x="397" y="11"/>
                </a:lnTo>
                <a:lnTo>
                  <a:pt x="388" y="7"/>
                </a:lnTo>
                <a:lnTo>
                  <a:pt x="380" y="4"/>
                </a:lnTo>
                <a:lnTo>
                  <a:pt x="370" y="2"/>
                </a:lnTo>
                <a:lnTo>
                  <a:pt x="360" y="0"/>
                </a:lnTo>
                <a:lnTo>
                  <a:pt x="350" y="2"/>
                </a:lnTo>
                <a:lnTo>
                  <a:pt x="340" y="4"/>
                </a:lnTo>
                <a:lnTo>
                  <a:pt x="331" y="7"/>
                </a:lnTo>
                <a:lnTo>
                  <a:pt x="322" y="11"/>
                </a:lnTo>
                <a:lnTo>
                  <a:pt x="314" y="17"/>
                </a:lnTo>
                <a:lnTo>
                  <a:pt x="307" y="24"/>
                </a:lnTo>
                <a:lnTo>
                  <a:pt x="301" y="31"/>
                </a:lnTo>
                <a:lnTo>
                  <a:pt x="296" y="39"/>
                </a:lnTo>
                <a:lnTo>
                  <a:pt x="288" y="34"/>
                </a:lnTo>
                <a:lnTo>
                  <a:pt x="279" y="29"/>
                </a:lnTo>
                <a:lnTo>
                  <a:pt x="270" y="27"/>
                </a:lnTo>
                <a:lnTo>
                  <a:pt x="260" y="25"/>
                </a:lnTo>
                <a:lnTo>
                  <a:pt x="251" y="24"/>
                </a:lnTo>
                <a:lnTo>
                  <a:pt x="242" y="24"/>
                </a:lnTo>
                <a:lnTo>
                  <a:pt x="232" y="26"/>
                </a:lnTo>
                <a:lnTo>
                  <a:pt x="222" y="28"/>
                </a:lnTo>
                <a:lnTo>
                  <a:pt x="213" y="34"/>
                </a:lnTo>
                <a:lnTo>
                  <a:pt x="205" y="39"/>
                </a:lnTo>
                <a:lnTo>
                  <a:pt x="197" y="46"/>
                </a:lnTo>
                <a:lnTo>
                  <a:pt x="192" y="52"/>
                </a:lnTo>
                <a:lnTo>
                  <a:pt x="186" y="61"/>
                </a:lnTo>
                <a:lnTo>
                  <a:pt x="182" y="69"/>
                </a:lnTo>
                <a:lnTo>
                  <a:pt x="180" y="79"/>
                </a:lnTo>
                <a:lnTo>
                  <a:pt x="177" y="89"/>
                </a:lnTo>
                <a:lnTo>
                  <a:pt x="168" y="87"/>
                </a:lnTo>
                <a:lnTo>
                  <a:pt x="156" y="85"/>
                </a:lnTo>
                <a:lnTo>
                  <a:pt x="149" y="87"/>
                </a:lnTo>
                <a:lnTo>
                  <a:pt x="142" y="88"/>
                </a:lnTo>
                <a:lnTo>
                  <a:pt x="135" y="89"/>
                </a:lnTo>
                <a:lnTo>
                  <a:pt x="129" y="91"/>
                </a:lnTo>
                <a:lnTo>
                  <a:pt x="122" y="94"/>
                </a:lnTo>
                <a:lnTo>
                  <a:pt x="117" y="98"/>
                </a:lnTo>
                <a:lnTo>
                  <a:pt x="111" y="102"/>
                </a:lnTo>
                <a:lnTo>
                  <a:pt x="106" y="106"/>
                </a:lnTo>
                <a:lnTo>
                  <a:pt x="99" y="114"/>
                </a:lnTo>
                <a:lnTo>
                  <a:pt x="94" y="122"/>
                </a:lnTo>
                <a:lnTo>
                  <a:pt x="89" y="131"/>
                </a:lnTo>
                <a:lnTo>
                  <a:pt x="86" y="141"/>
                </a:lnTo>
                <a:lnTo>
                  <a:pt x="85" y="151"/>
                </a:lnTo>
                <a:lnTo>
                  <a:pt x="85" y="161"/>
                </a:lnTo>
                <a:lnTo>
                  <a:pt x="85" y="169"/>
                </a:lnTo>
                <a:lnTo>
                  <a:pt x="87" y="179"/>
                </a:lnTo>
                <a:lnTo>
                  <a:pt x="78" y="180"/>
                </a:lnTo>
                <a:lnTo>
                  <a:pt x="68" y="184"/>
                </a:lnTo>
                <a:lnTo>
                  <a:pt x="59" y="188"/>
                </a:lnTo>
                <a:lnTo>
                  <a:pt x="52" y="193"/>
                </a:lnTo>
                <a:lnTo>
                  <a:pt x="44" y="199"/>
                </a:lnTo>
                <a:lnTo>
                  <a:pt x="37" y="207"/>
                </a:lnTo>
                <a:lnTo>
                  <a:pt x="32" y="215"/>
                </a:lnTo>
                <a:lnTo>
                  <a:pt x="27" y="223"/>
                </a:lnTo>
                <a:lnTo>
                  <a:pt x="24" y="233"/>
                </a:lnTo>
                <a:lnTo>
                  <a:pt x="23" y="243"/>
                </a:lnTo>
                <a:lnTo>
                  <a:pt x="22" y="252"/>
                </a:lnTo>
                <a:lnTo>
                  <a:pt x="23" y="262"/>
                </a:lnTo>
                <a:lnTo>
                  <a:pt x="25" y="271"/>
                </a:lnTo>
                <a:lnTo>
                  <a:pt x="28" y="280"/>
                </a:lnTo>
                <a:lnTo>
                  <a:pt x="33" y="289"/>
                </a:lnTo>
                <a:lnTo>
                  <a:pt x="38" y="296"/>
                </a:lnTo>
                <a:lnTo>
                  <a:pt x="31" y="302"/>
                </a:lnTo>
                <a:lnTo>
                  <a:pt x="23" y="308"/>
                </a:lnTo>
                <a:lnTo>
                  <a:pt x="16" y="315"/>
                </a:lnTo>
                <a:lnTo>
                  <a:pt x="11" y="323"/>
                </a:lnTo>
                <a:lnTo>
                  <a:pt x="6" y="332"/>
                </a:lnTo>
                <a:lnTo>
                  <a:pt x="3" y="341"/>
                </a:lnTo>
                <a:lnTo>
                  <a:pt x="1" y="350"/>
                </a:lnTo>
                <a:lnTo>
                  <a:pt x="0" y="360"/>
                </a:lnTo>
                <a:lnTo>
                  <a:pt x="1" y="370"/>
                </a:lnTo>
                <a:lnTo>
                  <a:pt x="3" y="380"/>
                </a:lnTo>
                <a:lnTo>
                  <a:pt x="6" y="389"/>
                </a:lnTo>
                <a:lnTo>
                  <a:pt x="11" y="398"/>
                </a:lnTo>
                <a:lnTo>
                  <a:pt x="16" y="406"/>
                </a:lnTo>
                <a:lnTo>
                  <a:pt x="23" y="413"/>
                </a:lnTo>
                <a:lnTo>
                  <a:pt x="31" y="420"/>
                </a:lnTo>
                <a:lnTo>
                  <a:pt x="38" y="424"/>
                </a:lnTo>
                <a:lnTo>
                  <a:pt x="33" y="433"/>
                </a:lnTo>
                <a:lnTo>
                  <a:pt x="28" y="441"/>
                </a:lnTo>
                <a:lnTo>
                  <a:pt x="25" y="450"/>
                </a:lnTo>
                <a:lnTo>
                  <a:pt x="23" y="460"/>
                </a:lnTo>
                <a:lnTo>
                  <a:pt x="22" y="470"/>
                </a:lnTo>
                <a:lnTo>
                  <a:pt x="23" y="479"/>
                </a:lnTo>
                <a:lnTo>
                  <a:pt x="24" y="488"/>
                </a:lnTo>
                <a:lnTo>
                  <a:pt x="27" y="498"/>
                </a:lnTo>
                <a:lnTo>
                  <a:pt x="32" y="507"/>
                </a:lnTo>
                <a:lnTo>
                  <a:pt x="37" y="515"/>
                </a:lnTo>
                <a:lnTo>
                  <a:pt x="44" y="523"/>
                </a:lnTo>
                <a:lnTo>
                  <a:pt x="52" y="528"/>
                </a:lnTo>
                <a:lnTo>
                  <a:pt x="59" y="534"/>
                </a:lnTo>
                <a:lnTo>
                  <a:pt x="68" y="538"/>
                </a:lnTo>
                <a:lnTo>
                  <a:pt x="78" y="540"/>
                </a:lnTo>
                <a:lnTo>
                  <a:pt x="87" y="543"/>
                </a:lnTo>
                <a:lnTo>
                  <a:pt x="85" y="551"/>
                </a:lnTo>
                <a:lnTo>
                  <a:pt x="85" y="561"/>
                </a:lnTo>
                <a:lnTo>
                  <a:pt x="85" y="571"/>
                </a:lnTo>
                <a:lnTo>
                  <a:pt x="86" y="580"/>
                </a:lnTo>
                <a:lnTo>
                  <a:pt x="89" y="590"/>
                </a:lnTo>
                <a:lnTo>
                  <a:pt x="94" y="599"/>
                </a:lnTo>
                <a:lnTo>
                  <a:pt x="99" y="608"/>
                </a:lnTo>
                <a:lnTo>
                  <a:pt x="106" y="615"/>
                </a:lnTo>
                <a:lnTo>
                  <a:pt x="111" y="620"/>
                </a:lnTo>
                <a:lnTo>
                  <a:pt x="117" y="624"/>
                </a:lnTo>
                <a:lnTo>
                  <a:pt x="122" y="628"/>
                </a:lnTo>
                <a:lnTo>
                  <a:pt x="129" y="631"/>
                </a:lnTo>
                <a:lnTo>
                  <a:pt x="135" y="633"/>
                </a:lnTo>
                <a:lnTo>
                  <a:pt x="142" y="634"/>
                </a:lnTo>
                <a:lnTo>
                  <a:pt x="149" y="635"/>
                </a:lnTo>
                <a:lnTo>
                  <a:pt x="156" y="635"/>
                </a:lnTo>
                <a:lnTo>
                  <a:pt x="168" y="635"/>
                </a:lnTo>
                <a:lnTo>
                  <a:pt x="177" y="633"/>
                </a:lnTo>
                <a:lnTo>
                  <a:pt x="180" y="643"/>
                </a:lnTo>
                <a:lnTo>
                  <a:pt x="182" y="652"/>
                </a:lnTo>
                <a:lnTo>
                  <a:pt x="186" y="661"/>
                </a:lnTo>
                <a:lnTo>
                  <a:pt x="192" y="668"/>
                </a:lnTo>
                <a:lnTo>
                  <a:pt x="197" y="676"/>
                </a:lnTo>
                <a:lnTo>
                  <a:pt x="205" y="683"/>
                </a:lnTo>
                <a:lnTo>
                  <a:pt x="213" y="688"/>
                </a:lnTo>
                <a:lnTo>
                  <a:pt x="222" y="693"/>
                </a:lnTo>
                <a:lnTo>
                  <a:pt x="232" y="696"/>
                </a:lnTo>
                <a:lnTo>
                  <a:pt x="242" y="698"/>
                </a:lnTo>
                <a:lnTo>
                  <a:pt x="251" y="698"/>
                </a:lnTo>
                <a:lnTo>
                  <a:pt x="260" y="697"/>
                </a:lnTo>
                <a:lnTo>
                  <a:pt x="270" y="695"/>
                </a:lnTo>
                <a:lnTo>
                  <a:pt x="279" y="692"/>
                </a:lnTo>
                <a:lnTo>
                  <a:pt x="288" y="687"/>
                </a:lnTo>
                <a:lnTo>
                  <a:pt x="296" y="682"/>
                </a:lnTo>
                <a:lnTo>
                  <a:pt x="301" y="689"/>
                </a:lnTo>
                <a:lnTo>
                  <a:pt x="307" y="697"/>
                </a:lnTo>
                <a:lnTo>
                  <a:pt x="314" y="704"/>
                </a:lnTo>
                <a:lnTo>
                  <a:pt x="322" y="709"/>
                </a:lnTo>
                <a:lnTo>
                  <a:pt x="331" y="714"/>
                </a:lnTo>
                <a:lnTo>
                  <a:pt x="340" y="717"/>
                </a:lnTo>
                <a:lnTo>
                  <a:pt x="350" y="719"/>
                </a:lnTo>
                <a:lnTo>
                  <a:pt x="360" y="719"/>
                </a:lnTo>
                <a:lnTo>
                  <a:pt x="370" y="719"/>
                </a:lnTo>
                <a:lnTo>
                  <a:pt x="380" y="717"/>
                </a:lnTo>
                <a:lnTo>
                  <a:pt x="388" y="714"/>
                </a:lnTo>
                <a:lnTo>
                  <a:pt x="397" y="709"/>
                </a:lnTo>
                <a:lnTo>
                  <a:pt x="405" y="704"/>
                </a:lnTo>
                <a:lnTo>
                  <a:pt x="412" y="697"/>
                </a:lnTo>
                <a:lnTo>
                  <a:pt x="418" y="689"/>
                </a:lnTo>
                <a:lnTo>
                  <a:pt x="424" y="682"/>
                </a:lnTo>
                <a:lnTo>
                  <a:pt x="431" y="687"/>
                </a:lnTo>
                <a:lnTo>
                  <a:pt x="440" y="692"/>
                </a:lnTo>
                <a:lnTo>
                  <a:pt x="449" y="695"/>
                </a:lnTo>
                <a:lnTo>
                  <a:pt x="458" y="697"/>
                </a:lnTo>
                <a:lnTo>
                  <a:pt x="468" y="698"/>
                </a:lnTo>
                <a:lnTo>
                  <a:pt x="478" y="698"/>
                </a:lnTo>
                <a:lnTo>
                  <a:pt x="488" y="696"/>
                </a:lnTo>
                <a:lnTo>
                  <a:pt x="497" y="693"/>
                </a:lnTo>
                <a:lnTo>
                  <a:pt x="507" y="688"/>
                </a:lnTo>
                <a:lnTo>
                  <a:pt x="514" y="683"/>
                </a:lnTo>
                <a:lnTo>
                  <a:pt x="522" y="676"/>
                </a:lnTo>
                <a:lnTo>
                  <a:pt x="528" y="668"/>
                </a:lnTo>
                <a:lnTo>
                  <a:pt x="533" y="661"/>
                </a:lnTo>
                <a:lnTo>
                  <a:pt x="536" y="652"/>
                </a:lnTo>
                <a:lnTo>
                  <a:pt x="540" y="643"/>
                </a:lnTo>
                <a:lnTo>
                  <a:pt x="541" y="633"/>
                </a:lnTo>
                <a:lnTo>
                  <a:pt x="552" y="635"/>
                </a:lnTo>
                <a:lnTo>
                  <a:pt x="563" y="635"/>
                </a:lnTo>
                <a:lnTo>
                  <a:pt x="569" y="635"/>
                </a:lnTo>
                <a:lnTo>
                  <a:pt x="577" y="634"/>
                </a:lnTo>
                <a:lnTo>
                  <a:pt x="584" y="633"/>
                </a:lnTo>
                <a:lnTo>
                  <a:pt x="590" y="631"/>
                </a:lnTo>
                <a:lnTo>
                  <a:pt x="597" y="628"/>
                </a:lnTo>
                <a:lnTo>
                  <a:pt x="603" y="624"/>
                </a:lnTo>
                <a:lnTo>
                  <a:pt x="608" y="620"/>
                </a:lnTo>
                <a:lnTo>
                  <a:pt x="614" y="615"/>
                </a:lnTo>
                <a:lnTo>
                  <a:pt x="620" y="608"/>
                </a:lnTo>
                <a:lnTo>
                  <a:pt x="626" y="599"/>
                </a:lnTo>
                <a:lnTo>
                  <a:pt x="630" y="590"/>
                </a:lnTo>
                <a:lnTo>
                  <a:pt x="632" y="580"/>
                </a:lnTo>
                <a:lnTo>
                  <a:pt x="635" y="571"/>
                </a:lnTo>
                <a:lnTo>
                  <a:pt x="635" y="561"/>
                </a:lnTo>
                <a:lnTo>
                  <a:pt x="634" y="551"/>
                </a:lnTo>
                <a:lnTo>
                  <a:pt x="631" y="543"/>
                </a:lnTo>
                <a:lnTo>
                  <a:pt x="641" y="540"/>
                </a:lnTo>
                <a:lnTo>
                  <a:pt x="651" y="538"/>
                </a:lnTo>
                <a:lnTo>
                  <a:pt x="660" y="534"/>
                </a:lnTo>
                <a:lnTo>
                  <a:pt x="668" y="528"/>
                </a:lnTo>
                <a:lnTo>
                  <a:pt x="675" y="523"/>
                </a:lnTo>
                <a:lnTo>
                  <a:pt x="682" y="515"/>
                </a:lnTo>
                <a:lnTo>
                  <a:pt x="688" y="507"/>
                </a:lnTo>
                <a:lnTo>
                  <a:pt x="692" y="498"/>
                </a:lnTo>
                <a:lnTo>
                  <a:pt x="694" y="488"/>
                </a:lnTo>
                <a:lnTo>
                  <a:pt x="696" y="479"/>
                </a:lnTo>
                <a:lnTo>
                  <a:pt x="698" y="470"/>
                </a:lnTo>
                <a:lnTo>
                  <a:pt x="696" y="460"/>
                </a:lnTo>
                <a:lnTo>
                  <a:pt x="694" y="450"/>
                </a:lnTo>
                <a:lnTo>
                  <a:pt x="691" y="441"/>
                </a:lnTo>
                <a:lnTo>
                  <a:pt x="687" y="433"/>
                </a:lnTo>
                <a:lnTo>
                  <a:pt x="681" y="424"/>
                </a:lnTo>
                <a:lnTo>
                  <a:pt x="689" y="420"/>
                </a:lnTo>
                <a:lnTo>
                  <a:pt x="696" y="413"/>
                </a:lnTo>
                <a:lnTo>
                  <a:pt x="703" y="406"/>
                </a:lnTo>
                <a:lnTo>
                  <a:pt x="709" y="398"/>
                </a:lnTo>
                <a:lnTo>
                  <a:pt x="713" y="389"/>
                </a:lnTo>
                <a:lnTo>
                  <a:pt x="716" y="380"/>
                </a:lnTo>
                <a:lnTo>
                  <a:pt x="719" y="370"/>
                </a:lnTo>
                <a:lnTo>
                  <a:pt x="719" y="360"/>
                </a:lnTo>
                <a:close/>
              </a:path>
            </a:pathLst>
          </a:custGeom>
          <a:solidFill>
            <a:srgbClr val="0941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206" name="Freeform 1674">
            <a:extLst>
              <a:ext uri="{FF2B5EF4-FFF2-40B4-BE49-F238E27FC236}">
                <a16:creationId xmlns:a16="http://schemas.microsoft.com/office/drawing/2014/main" id="{5482FAF0-0319-4676-823C-086106802F14}"/>
              </a:ext>
            </a:extLst>
          </p:cNvPr>
          <p:cNvSpPr>
            <a:spLocks noEditPoints="1"/>
          </p:cNvSpPr>
          <p:nvPr/>
        </p:nvSpPr>
        <p:spPr bwMode="auto">
          <a:xfrm>
            <a:off x="9831981" y="3276657"/>
            <a:ext cx="285750" cy="285750"/>
          </a:xfrm>
          <a:custGeom>
            <a:avLst/>
            <a:gdLst>
              <a:gd name="T0" fmla="*/ 503 w 718"/>
              <a:gd name="T1" fmla="*/ 505 h 719"/>
              <a:gd name="T2" fmla="*/ 359 w 718"/>
              <a:gd name="T3" fmla="*/ 378 h 719"/>
              <a:gd name="T4" fmla="*/ 215 w 718"/>
              <a:gd name="T5" fmla="*/ 505 h 719"/>
              <a:gd name="T6" fmla="*/ 342 w 718"/>
              <a:gd name="T7" fmla="*/ 360 h 719"/>
              <a:gd name="T8" fmla="*/ 215 w 718"/>
              <a:gd name="T9" fmla="*/ 215 h 719"/>
              <a:gd name="T10" fmla="*/ 359 w 718"/>
              <a:gd name="T11" fmla="*/ 342 h 719"/>
              <a:gd name="T12" fmla="*/ 503 w 718"/>
              <a:gd name="T13" fmla="*/ 215 h 719"/>
              <a:gd name="T14" fmla="*/ 376 w 718"/>
              <a:gd name="T15" fmla="*/ 360 h 719"/>
              <a:gd name="T16" fmla="*/ 712 w 718"/>
              <a:gd name="T17" fmla="*/ 331 h 719"/>
              <a:gd name="T18" fmla="*/ 680 w 718"/>
              <a:gd name="T19" fmla="*/ 296 h 719"/>
              <a:gd name="T20" fmla="*/ 696 w 718"/>
              <a:gd name="T21" fmla="*/ 252 h 719"/>
              <a:gd name="T22" fmla="*/ 681 w 718"/>
              <a:gd name="T23" fmla="*/ 206 h 719"/>
              <a:gd name="T24" fmla="*/ 641 w 718"/>
              <a:gd name="T25" fmla="*/ 180 h 719"/>
              <a:gd name="T26" fmla="*/ 632 w 718"/>
              <a:gd name="T27" fmla="*/ 140 h 719"/>
              <a:gd name="T28" fmla="*/ 608 w 718"/>
              <a:gd name="T29" fmla="*/ 101 h 719"/>
              <a:gd name="T30" fmla="*/ 576 w 718"/>
              <a:gd name="T31" fmla="*/ 86 h 719"/>
              <a:gd name="T32" fmla="*/ 539 w 718"/>
              <a:gd name="T33" fmla="*/ 79 h 719"/>
              <a:gd name="T34" fmla="*/ 514 w 718"/>
              <a:gd name="T35" fmla="*/ 38 h 719"/>
              <a:gd name="T36" fmla="*/ 468 w 718"/>
              <a:gd name="T37" fmla="*/ 23 h 719"/>
              <a:gd name="T38" fmla="*/ 422 w 718"/>
              <a:gd name="T39" fmla="*/ 39 h 719"/>
              <a:gd name="T40" fmla="*/ 388 w 718"/>
              <a:gd name="T41" fmla="*/ 7 h 719"/>
              <a:gd name="T42" fmla="*/ 340 w 718"/>
              <a:gd name="T43" fmla="*/ 3 h 719"/>
              <a:gd name="T44" fmla="*/ 300 w 718"/>
              <a:gd name="T45" fmla="*/ 30 h 719"/>
              <a:gd name="T46" fmla="*/ 260 w 718"/>
              <a:gd name="T47" fmla="*/ 23 h 719"/>
              <a:gd name="T48" fmla="*/ 213 w 718"/>
              <a:gd name="T49" fmla="*/ 32 h 719"/>
              <a:gd name="T50" fmla="*/ 182 w 718"/>
              <a:gd name="T51" fmla="*/ 69 h 719"/>
              <a:gd name="T52" fmla="*/ 149 w 718"/>
              <a:gd name="T53" fmla="*/ 85 h 719"/>
              <a:gd name="T54" fmla="*/ 115 w 718"/>
              <a:gd name="T55" fmla="*/ 97 h 719"/>
              <a:gd name="T56" fmla="*/ 89 w 718"/>
              <a:gd name="T57" fmla="*/ 130 h 719"/>
              <a:gd name="T58" fmla="*/ 87 w 718"/>
              <a:gd name="T59" fmla="*/ 179 h 719"/>
              <a:gd name="T60" fmla="*/ 44 w 718"/>
              <a:gd name="T61" fmla="*/ 199 h 719"/>
              <a:gd name="T62" fmla="*/ 22 w 718"/>
              <a:gd name="T63" fmla="*/ 242 h 719"/>
              <a:gd name="T64" fmla="*/ 33 w 718"/>
              <a:gd name="T65" fmla="*/ 288 h 719"/>
              <a:gd name="T66" fmla="*/ 11 w 718"/>
              <a:gd name="T67" fmla="*/ 323 h 719"/>
              <a:gd name="T68" fmla="*/ 1 w 718"/>
              <a:gd name="T69" fmla="*/ 370 h 719"/>
              <a:gd name="T70" fmla="*/ 23 w 718"/>
              <a:gd name="T71" fmla="*/ 412 h 719"/>
              <a:gd name="T72" fmla="*/ 25 w 718"/>
              <a:gd name="T73" fmla="*/ 450 h 719"/>
              <a:gd name="T74" fmla="*/ 27 w 718"/>
              <a:gd name="T75" fmla="*/ 497 h 719"/>
              <a:gd name="T76" fmla="*/ 59 w 718"/>
              <a:gd name="T77" fmla="*/ 533 h 719"/>
              <a:gd name="T78" fmla="*/ 83 w 718"/>
              <a:gd name="T79" fmla="*/ 561 h 719"/>
              <a:gd name="T80" fmla="*/ 98 w 718"/>
              <a:gd name="T81" fmla="*/ 606 h 719"/>
              <a:gd name="T82" fmla="*/ 129 w 718"/>
              <a:gd name="T83" fmla="*/ 630 h 719"/>
              <a:gd name="T84" fmla="*/ 166 w 718"/>
              <a:gd name="T85" fmla="*/ 634 h 719"/>
              <a:gd name="T86" fmla="*/ 191 w 718"/>
              <a:gd name="T87" fmla="*/ 668 h 719"/>
              <a:gd name="T88" fmla="*/ 231 w 718"/>
              <a:gd name="T89" fmla="*/ 696 h 719"/>
              <a:gd name="T90" fmla="*/ 279 w 718"/>
              <a:gd name="T91" fmla="*/ 691 h 719"/>
              <a:gd name="T92" fmla="*/ 313 w 718"/>
              <a:gd name="T93" fmla="*/ 704 h 719"/>
              <a:gd name="T94" fmla="*/ 359 w 718"/>
              <a:gd name="T95" fmla="*/ 719 h 719"/>
              <a:gd name="T96" fmla="*/ 405 w 718"/>
              <a:gd name="T97" fmla="*/ 704 h 719"/>
              <a:gd name="T98" fmla="*/ 439 w 718"/>
              <a:gd name="T99" fmla="*/ 691 h 719"/>
              <a:gd name="T100" fmla="*/ 486 w 718"/>
              <a:gd name="T101" fmla="*/ 696 h 719"/>
              <a:gd name="T102" fmla="*/ 527 w 718"/>
              <a:gd name="T103" fmla="*/ 668 h 719"/>
              <a:gd name="T104" fmla="*/ 552 w 718"/>
              <a:gd name="T105" fmla="*/ 634 h 719"/>
              <a:gd name="T106" fmla="*/ 589 w 718"/>
              <a:gd name="T107" fmla="*/ 630 h 719"/>
              <a:gd name="T108" fmla="*/ 620 w 718"/>
              <a:gd name="T109" fmla="*/ 606 h 719"/>
              <a:gd name="T110" fmla="*/ 634 w 718"/>
              <a:gd name="T111" fmla="*/ 561 h 719"/>
              <a:gd name="T112" fmla="*/ 659 w 718"/>
              <a:gd name="T113" fmla="*/ 533 h 719"/>
              <a:gd name="T114" fmla="*/ 691 w 718"/>
              <a:gd name="T115" fmla="*/ 497 h 719"/>
              <a:gd name="T116" fmla="*/ 694 w 718"/>
              <a:gd name="T117" fmla="*/ 450 h 719"/>
              <a:gd name="T118" fmla="*/ 695 w 718"/>
              <a:gd name="T119" fmla="*/ 412 h 719"/>
              <a:gd name="T120" fmla="*/ 717 w 718"/>
              <a:gd name="T121" fmla="*/ 37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18" h="719">
                <a:moveTo>
                  <a:pt x="503" y="488"/>
                </a:moveTo>
                <a:lnTo>
                  <a:pt x="506" y="492"/>
                </a:lnTo>
                <a:lnTo>
                  <a:pt x="507" y="496"/>
                </a:lnTo>
                <a:lnTo>
                  <a:pt x="506" y="500"/>
                </a:lnTo>
                <a:lnTo>
                  <a:pt x="503" y="505"/>
                </a:lnTo>
                <a:lnTo>
                  <a:pt x="500" y="507"/>
                </a:lnTo>
                <a:lnTo>
                  <a:pt x="495" y="508"/>
                </a:lnTo>
                <a:lnTo>
                  <a:pt x="491" y="507"/>
                </a:lnTo>
                <a:lnTo>
                  <a:pt x="486" y="505"/>
                </a:lnTo>
                <a:lnTo>
                  <a:pt x="359" y="378"/>
                </a:lnTo>
                <a:lnTo>
                  <a:pt x="231" y="505"/>
                </a:lnTo>
                <a:lnTo>
                  <a:pt x="228" y="507"/>
                </a:lnTo>
                <a:lnTo>
                  <a:pt x="223" y="508"/>
                </a:lnTo>
                <a:lnTo>
                  <a:pt x="218" y="507"/>
                </a:lnTo>
                <a:lnTo>
                  <a:pt x="215" y="505"/>
                </a:lnTo>
                <a:lnTo>
                  <a:pt x="212" y="500"/>
                </a:lnTo>
                <a:lnTo>
                  <a:pt x="212" y="496"/>
                </a:lnTo>
                <a:lnTo>
                  <a:pt x="212" y="492"/>
                </a:lnTo>
                <a:lnTo>
                  <a:pt x="215" y="488"/>
                </a:lnTo>
                <a:lnTo>
                  <a:pt x="342" y="360"/>
                </a:lnTo>
                <a:lnTo>
                  <a:pt x="215" y="233"/>
                </a:lnTo>
                <a:lnTo>
                  <a:pt x="212" y="229"/>
                </a:lnTo>
                <a:lnTo>
                  <a:pt x="212" y="224"/>
                </a:lnTo>
                <a:lnTo>
                  <a:pt x="212" y="220"/>
                </a:lnTo>
                <a:lnTo>
                  <a:pt x="215" y="215"/>
                </a:lnTo>
                <a:lnTo>
                  <a:pt x="218" y="213"/>
                </a:lnTo>
                <a:lnTo>
                  <a:pt x="223" y="212"/>
                </a:lnTo>
                <a:lnTo>
                  <a:pt x="228" y="213"/>
                </a:lnTo>
                <a:lnTo>
                  <a:pt x="231" y="215"/>
                </a:lnTo>
                <a:lnTo>
                  <a:pt x="359" y="342"/>
                </a:lnTo>
                <a:lnTo>
                  <a:pt x="486" y="215"/>
                </a:lnTo>
                <a:lnTo>
                  <a:pt x="491" y="213"/>
                </a:lnTo>
                <a:lnTo>
                  <a:pt x="495" y="212"/>
                </a:lnTo>
                <a:lnTo>
                  <a:pt x="500" y="213"/>
                </a:lnTo>
                <a:lnTo>
                  <a:pt x="503" y="215"/>
                </a:lnTo>
                <a:lnTo>
                  <a:pt x="506" y="220"/>
                </a:lnTo>
                <a:lnTo>
                  <a:pt x="507" y="224"/>
                </a:lnTo>
                <a:lnTo>
                  <a:pt x="506" y="229"/>
                </a:lnTo>
                <a:lnTo>
                  <a:pt x="503" y="233"/>
                </a:lnTo>
                <a:lnTo>
                  <a:pt x="376" y="360"/>
                </a:lnTo>
                <a:lnTo>
                  <a:pt x="503" y="488"/>
                </a:lnTo>
                <a:close/>
                <a:moveTo>
                  <a:pt x="718" y="360"/>
                </a:moveTo>
                <a:lnTo>
                  <a:pt x="717" y="350"/>
                </a:lnTo>
                <a:lnTo>
                  <a:pt x="715" y="340"/>
                </a:lnTo>
                <a:lnTo>
                  <a:pt x="712" y="331"/>
                </a:lnTo>
                <a:lnTo>
                  <a:pt x="707" y="323"/>
                </a:lnTo>
                <a:lnTo>
                  <a:pt x="702" y="315"/>
                </a:lnTo>
                <a:lnTo>
                  <a:pt x="695" y="307"/>
                </a:lnTo>
                <a:lnTo>
                  <a:pt x="689" y="302"/>
                </a:lnTo>
                <a:lnTo>
                  <a:pt x="680" y="296"/>
                </a:lnTo>
                <a:lnTo>
                  <a:pt x="685" y="288"/>
                </a:lnTo>
                <a:lnTo>
                  <a:pt x="690" y="280"/>
                </a:lnTo>
                <a:lnTo>
                  <a:pt x="693" y="271"/>
                </a:lnTo>
                <a:lnTo>
                  <a:pt x="695" y="262"/>
                </a:lnTo>
                <a:lnTo>
                  <a:pt x="696" y="252"/>
                </a:lnTo>
                <a:lnTo>
                  <a:pt x="696" y="242"/>
                </a:lnTo>
                <a:lnTo>
                  <a:pt x="694" y="233"/>
                </a:lnTo>
                <a:lnTo>
                  <a:pt x="691" y="223"/>
                </a:lnTo>
                <a:lnTo>
                  <a:pt x="686" y="214"/>
                </a:lnTo>
                <a:lnTo>
                  <a:pt x="681" y="206"/>
                </a:lnTo>
                <a:lnTo>
                  <a:pt x="674" y="199"/>
                </a:lnTo>
                <a:lnTo>
                  <a:pt x="668" y="192"/>
                </a:lnTo>
                <a:lnTo>
                  <a:pt x="659" y="187"/>
                </a:lnTo>
                <a:lnTo>
                  <a:pt x="650" y="183"/>
                </a:lnTo>
                <a:lnTo>
                  <a:pt x="641" y="180"/>
                </a:lnTo>
                <a:lnTo>
                  <a:pt x="631" y="179"/>
                </a:lnTo>
                <a:lnTo>
                  <a:pt x="633" y="169"/>
                </a:lnTo>
                <a:lnTo>
                  <a:pt x="634" y="159"/>
                </a:lnTo>
                <a:lnTo>
                  <a:pt x="633" y="149"/>
                </a:lnTo>
                <a:lnTo>
                  <a:pt x="632" y="140"/>
                </a:lnTo>
                <a:lnTo>
                  <a:pt x="629" y="130"/>
                </a:lnTo>
                <a:lnTo>
                  <a:pt x="626" y="122"/>
                </a:lnTo>
                <a:lnTo>
                  <a:pt x="620" y="114"/>
                </a:lnTo>
                <a:lnTo>
                  <a:pt x="613" y="106"/>
                </a:lnTo>
                <a:lnTo>
                  <a:pt x="608" y="101"/>
                </a:lnTo>
                <a:lnTo>
                  <a:pt x="602" y="97"/>
                </a:lnTo>
                <a:lnTo>
                  <a:pt x="596" y="94"/>
                </a:lnTo>
                <a:lnTo>
                  <a:pt x="589" y="91"/>
                </a:lnTo>
                <a:lnTo>
                  <a:pt x="583" y="88"/>
                </a:lnTo>
                <a:lnTo>
                  <a:pt x="576" y="86"/>
                </a:lnTo>
                <a:lnTo>
                  <a:pt x="569" y="85"/>
                </a:lnTo>
                <a:lnTo>
                  <a:pt x="562" y="85"/>
                </a:lnTo>
                <a:lnTo>
                  <a:pt x="552" y="85"/>
                </a:lnTo>
                <a:lnTo>
                  <a:pt x="541" y="87"/>
                </a:lnTo>
                <a:lnTo>
                  <a:pt x="539" y="79"/>
                </a:lnTo>
                <a:lnTo>
                  <a:pt x="536" y="70"/>
                </a:lnTo>
                <a:lnTo>
                  <a:pt x="533" y="61"/>
                </a:lnTo>
                <a:lnTo>
                  <a:pt x="527" y="52"/>
                </a:lnTo>
                <a:lnTo>
                  <a:pt x="521" y="45"/>
                </a:lnTo>
                <a:lnTo>
                  <a:pt x="514" y="38"/>
                </a:lnTo>
                <a:lnTo>
                  <a:pt x="505" y="32"/>
                </a:lnTo>
                <a:lnTo>
                  <a:pt x="496" y="28"/>
                </a:lnTo>
                <a:lnTo>
                  <a:pt x="486" y="24"/>
                </a:lnTo>
                <a:lnTo>
                  <a:pt x="478" y="23"/>
                </a:lnTo>
                <a:lnTo>
                  <a:pt x="468" y="23"/>
                </a:lnTo>
                <a:lnTo>
                  <a:pt x="458" y="23"/>
                </a:lnTo>
                <a:lnTo>
                  <a:pt x="448" y="26"/>
                </a:lnTo>
                <a:lnTo>
                  <a:pt x="439" y="29"/>
                </a:lnTo>
                <a:lnTo>
                  <a:pt x="430" y="33"/>
                </a:lnTo>
                <a:lnTo>
                  <a:pt x="422" y="39"/>
                </a:lnTo>
                <a:lnTo>
                  <a:pt x="418" y="30"/>
                </a:lnTo>
                <a:lnTo>
                  <a:pt x="411" y="23"/>
                </a:lnTo>
                <a:lnTo>
                  <a:pt x="405" y="17"/>
                </a:lnTo>
                <a:lnTo>
                  <a:pt x="397" y="11"/>
                </a:lnTo>
                <a:lnTo>
                  <a:pt x="388" y="7"/>
                </a:lnTo>
                <a:lnTo>
                  <a:pt x="378" y="3"/>
                </a:lnTo>
                <a:lnTo>
                  <a:pt x="369" y="1"/>
                </a:lnTo>
                <a:lnTo>
                  <a:pt x="359" y="0"/>
                </a:lnTo>
                <a:lnTo>
                  <a:pt x="348" y="1"/>
                </a:lnTo>
                <a:lnTo>
                  <a:pt x="340" y="3"/>
                </a:lnTo>
                <a:lnTo>
                  <a:pt x="330" y="7"/>
                </a:lnTo>
                <a:lnTo>
                  <a:pt x="322" y="11"/>
                </a:lnTo>
                <a:lnTo>
                  <a:pt x="313" y="17"/>
                </a:lnTo>
                <a:lnTo>
                  <a:pt x="306" y="23"/>
                </a:lnTo>
                <a:lnTo>
                  <a:pt x="300" y="30"/>
                </a:lnTo>
                <a:lnTo>
                  <a:pt x="295" y="39"/>
                </a:lnTo>
                <a:lnTo>
                  <a:pt x="288" y="33"/>
                </a:lnTo>
                <a:lnTo>
                  <a:pt x="279" y="29"/>
                </a:lnTo>
                <a:lnTo>
                  <a:pt x="270" y="26"/>
                </a:lnTo>
                <a:lnTo>
                  <a:pt x="260" y="23"/>
                </a:lnTo>
                <a:lnTo>
                  <a:pt x="250" y="23"/>
                </a:lnTo>
                <a:lnTo>
                  <a:pt x="240" y="23"/>
                </a:lnTo>
                <a:lnTo>
                  <a:pt x="231" y="24"/>
                </a:lnTo>
                <a:lnTo>
                  <a:pt x="221" y="28"/>
                </a:lnTo>
                <a:lnTo>
                  <a:pt x="213" y="32"/>
                </a:lnTo>
                <a:lnTo>
                  <a:pt x="204" y="38"/>
                </a:lnTo>
                <a:lnTo>
                  <a:pt x="197" y="44"/>
                </a:lnTo>
                <a:lnTo>
                  <a:pt x="191" y="52"/>
                </a:lnTo>
                <a:lnTo>
                  <a:pt x="186" y="60"/>
                </a:lnTo>
                <a:lnTo>
                  <a:pt x="182" y="69"/>
                </a:lnTo>
                <a:lnTo>
                  <a:pt x="178" y="79"/>
                </a:lnTo>
                <a:lnTo>
                  <a:pt x="177" y="87"/>
                </a:lnTo>
                <a:lnTo>
                  <a:pt x="166" y="85"/>
                </a:lnTo>
                <a:lnTo>
                  <a:pt x="156" y="85"/>
                </a:lnTo>
                <a:lnTo>
                  <a:pt x="149" y="85"/>
                </a:lnTo>
                <a:lnTo>
                  <a:pt x="142" y="86"/>
                </a:lnTo>
                <a:lnTo>
                  <a:pt x="135" y="88"/>
                </a:lnTo>
                <a:lnTo>
                  <a:pt x="129" y="91"/>
                </a:lnTo>
                <a:lnTo>
                  <a:pt x="122" y="94"/>
                </a:lnTo>
                <a:lnTo>
                  <a:pt x="115" y="97"/>
                </a:lnTo>
                <a:lnTo>
                  <a:pt x="110" y="101"/>
                </a:lnTo>
                <a:lnTo>
                  <a:pt x="104" y="106"/>
                </a:lnTo>
                <a:lnTo>
                  <a:pt x="98" y="114"/>
                </a:lnTo>
                <a:lnTo>
                  <a:pt x="93" y="122"/>
                </a:lnTo>
                <a:lnTo>
                  <a:pt x="89" y="130"/>
                </a:lnTo>
                <a:lnTo>
                  <a:pt x="86" y="140"/>
                </a:lnTo>
                <a:lnTo>
                  <a:pt x="85" y="149"/>
                </a:lnTo>
                <a:lnTo>
                  <a:pt x="83" y="159"/>
                </a:lnTo>
                <a:lnTo>
                  <a:pt x="85" y="169"/>
                </a:lnTo>
                <a:lnTo>
                  <a:pt x="87" y="179"/>
                </a:lnTo>
                <a:lnTo>
                  <a:pt x="77" y="180"/>
                </a:lnTo>
                <a:lnTo>
                  <a:pt x="68" y="183"/>
                </a:lnTo>
                <a:lnTo>
                  <a:pt x="59" y="187"/>
                </a:lnTo>
                <a:lnTo>
                  <a:pt x="51" y="192"/>
                </a:lnTo>
                <a:lnTo>
                  <a:pt x="44" y="199"/>
                </a:lnTo>
                <a:lnTo>
                  <a:pt x="37" y="206"/>
                </a:lnTo>
                <a:lnTo>
                  <a:pt x="32" y="214"/>
                </a:lnTo>
                <a:lnTo>
                  <a:pt x="27" y="223"/>
                </a:lnTo>
                <a:lnTo>
                  <a:pt x="24" y="233"/>
                </a:lnTo>
                <a:lnTo>
                  <a:pt x="22" y="242"/>
                </a:lnTo>
                <a:lnTo>
                  <a:pt x="22" y="252"/>
                </a:lnTo>
                <a:lnTo>
                  <a:pt x="23" y="262"/>
                </a:lnTo>
                <a:lnTo>
                  <a:pt x="25" y="271"/>
                </a:lnTo>
                <a:lnTo>
                  <a:pt x="28" y="280"/>
                </a:lnTo>
                <a:lnTo>
                  <a:pt x="33" y="288"/>
                </a:lnTo>
                <a:lnTo>
                  <a:pt x="38" y="296"/>
                </a:lnTo>
                <a:lnTo>
                  <a:pt x="29" y="302"/>
                </a:lnTo>
                <a:lnTo>
                  <a:pt x="23" y="307"/>
                </a:lnTo>
                <a:lnTo>
                  <a:pt x="16" y="315"/>
                </a:lnTo>
                <a:lnTo>
                  <a:pt x="11" y="323"/>
                </a:lnTo>
                <a:lnTo>
                  <a:pt x="6" y="331"/>
                </a:lnTo>
                <a:lnTo>
                  <a:pt x="3" y="340"/>
                </a:lnTo>
                <a:lnTo>
                  <a:pt x="1" y="350"/>
                </a:lnTo>
                <a:lnTo>
                  <a:pt x="0" y="360"/>
                </a:lnTo>
                <a:lnTo>
                  <a:pt x="1" y="370"/>
                </a:lnTo>
                <a:lnTo>
                  <a:pt x="3" y="380"/>
                </a:lnTo>
                <a:lnTo>
                  <a:pt x="6" y="389"/>
                </a:lnTo>
                <a:lnTo>
                  <a:pt x="11" y="398"/>
                </a:lnTo>
                <a:lnTo>
                  <a:pt x="16" y="405"/>
                </a:lnTo>
                <a:lnTo>
                  <a:pt x="23" y="412"/>
                </a:lnTo>
                <a:lnTo>
                  <a:pt x="29" y="419"/>
                </a:lnTo>
                <a:lnTo>
                  <a:pt x="38" y="424"/>
                </a:lnTo>
                <a:lnTo>
                  <a:pt x="33" y="432"/>
                </a:lnTo>
                <a:lnTo>
                  <a:pt x="28" y="441"/>
                </a:lnTo>
                <a:lnTo>
                  <a:pt x="25" y="450"/>
                </a:lnTo>
                <a:lnTo>
                  <a:pt x="23" y="460"/>
                </a:lnTo>
                <a:lnTo>
                  <a:pt x="22" y="468"/>
                </a:lnTo>
                <a:lnTo>
                  <a:pt x="22" y="478"/>
                </a:lnTo>
                <a:lnTo>
                  <a:pt x="24" y="488"/>
                </a:lnTo>
                <a:lnTo>
                  <a:pt x="27" y="497"/>
                </a:lnTo>
                <a:lnTo>
                  <a:pt x="32" y="506"/>
                </a:lnTo>
                <a:lnTo>
                  <a:pt x="37" y="515"/>
                </a:lnTo>
                <a:lnTo>
                  <a:pt x="44" y="521"/>
                </a:lnTo>
                <a:lnTo>
                  <a:pt x="51" y="528"/>
                </a:lnTo>
                <a:lnTo>
                  <a:pt x="59" y="533"/>
                </a:lnTo>
                <a:lnTo>
                  <a:pt x="68" y="537"/>
                </a:lnTo>
                <a:lnTo>
                  <a:pt x="77" y="540"/>
                </a:lnTo>
                <a:lnTo>
                  <a:pt x="87" y="541"/>
                </a:lnTo>
                <a:lnTo>
                  <a:pt x="85" y="551"/>
                </a:lnTo>
                <a:lnTo>
                  <a:pt x="83" y="561"/>
                </a:lnTo>
                <a:lnTo>
                  <a:pt x="85" y="571"/>
                </a:lnTo>
                <a:lnTo>
                  <a:pt x="86" y="580"/>
                </a:lnTo>
                <a:lnTo>
                  <a:pt x="89" y="590"/>
                </a:lnTo>
                <a:lnTo>
                  <a:pt x="93" y="599"/>
                </a:lnTo>
                <a:lnTo>
                  <a:pt x="98" y="606"/>
                </a:lnTo>
                <a:lnTo>
                  <a:pt x="104" y="615"/>
                </a:lnTo>
                <a:lnTo>
                  <a:pt x="110" y="620"/>
                </a:lnTo>
                <a:lnTo>
                  <a:pt x="115" y="624"/>
                </a:lnTo>
                <a:lnTo>
                  <a:pt x="122" y="627"/>
                </a:lnTo>
                <a:lnTo>
                  <a:pt x="129" y="630"/>
                </a:lnTo>
                <a:lnTo>
                  <a:pt x="135" y="632"/>
                </a:lnTo>
                <a:lnTo>
                  <a:pt x="142" y="634"/>
                </a:lnTo>
                <a:lnTo>
                  <a:pt x="149" y="635"/>
                </a:lnTo>
                <a:lnTo>
                  <a:pt x="156" y="635"/>
                </a:lnTo>
                <a:lnTo>
                  <a:pt x="166" y="634"/>
                </a:lnTo>
                <a:lnTo>
                  <a:pt x="177" y="633"/>
                </a:lnTo>
                <a:lnTo>
                  <a:pt x="178" y="642"/>
                </a:lnTo>
                <a:lnTo>
                  <a:pt x="182" y="652"/>
                </a:lnTo>
                <a:lnTo>
                  <a:pt x="186" y="659"/>
                </a:lnTo>
                <a:lnTo>
                  <a:pt x="191" y="668"/>
                </a:lnTo>
                <a:lnTo>
                  <a:pt x="197" y="676"/>
                </a:lnTo>
                <a:lnTo>
                  <a:pt x="204" y="683"/>
                </a:lnTo>
                <a:lnTo>
                  <a:pt x="213" y="688"/>
                </a:lnTo>
                <a:lnTo>
                  <a:pt x="221" y="692"/>
                </a:lnTo>
                <a:lnTo>
                  <a:pt x="231" y="696"/>
                </a:lnTo>
                <a:lnTo>
                  <a:pt x="240" y="697"/>
                </a:lnTo>
                <a:lnTo>
                  <a:pt x="250" y="698"/>
                </a:lnTo>
                <a:lnTo>
                  <a:pt x="260" y="697"/>
                </a:lnTo>
                <a:lnTo>
                  <a:pt x="270" y="695"/>
                </a:lnTo>
                <a:lnTo>
                  <a:pt x="279" y="691"/>
                </a:lnTo>
                <a:lnTo>
                  <a:pt x="288" y="686"/>
                </a:lnTo>
                <a:lnTo>
                  <a:pt x="295" y="680"/>
                </a:lnTo>
                <a:lnTo>
                  <a:pt x="300" y="689"/>
                </a:lnTo>
                <a:lnTo>
                  <a:pt x="306" y="697"/>
                </a:lnTo>
                <a:lnTo>
                  <a:pt x="313" y="704"/>
                </a:lnTo>
                <a:lnTo>
                  <a:pt x="322" y="709"/>
                </a:lnTo>
                <a:lnTo>
                  <a:pt x="330" y="713"/>
                </a:lnTo>
                <a:lnTo>
                  <a:pt x="340" y="717"/>
                </a:lnTo>
                <a:lnTo>
                  <a:pt x="348" y="718"/>
                </a:lnTo>
                <a:lnTo>
                  <a:pt x="359" y="719"/>
                </a:lnTo>
                <a:lnTo>
                  <a:pt x="369" y="718"/>
                </a:lnTo>
                <a:lnTo>
                  <a:pt x="378" y="717"/>
                </a:lnTo>
                <a:lnTo>
                  <a:pt x="388" y="713"/>
                </a:lnTo>
                <a:lnTo>
                  <a:pt x="397" y="709"/>
                </a:lnTo>
                <a:lnTo>
                  <a:pt x="405" y="704"/>
                </a:lnTo>
                <a:lnTo>
                  <a:pt x="411" y="697"/>
                </a:lnTo>
                <a:lnTo>
                  <a:pt x="418" y="689"/>
                </a:lnTo>
                <a:lnTo>
                  <a:pt x="422" y="680"/>
                </a:lnTo>
                <a:lnTo>
                  <a:pt x="430" y="686"/>
                </a:lnTo>
                <a:lnTo>
                  <a:pt x="439" y="691"/>
                </a:lnTo>
                <a:lnTo>
                  <a:pt x="448" y="695"/>
                </a:lnTo>
                <a:lnTo>
                  <a:pt x="458" y="697"/>
                </a:lnTo>
                <a:lnTo>
                  <a:pt x="468" y="698"/>
                </a:lnTo>
                <a:lnTo>
                  <a:pt x="478" y="697"/>
                </a:lnTo>
                <a:lnTo>
                  <a:pt x="486" y="696"/>
                </a:lnTo>
                <a:lnTo>
                  <a:pt x="496" y="692"/>
                </a:lnTo>
                <a:lnTo>
                  <a:pt x="505" y="688"/>
                </a:lnTo>
                <a:lnTo>
                  <a:pt x="514" y="683"/>
                </a:lnTo>
                <a:lnTo>
                  <a:pt x="521" y="676"/>
                </a:lnTo>
                <a:lnTo>
                  <a:pt x="527" y="668"/>
                </a:lnTo>
                <a:lnTo>
                  <a:pt x="532" y="659"/>
                </a:lnTo>
                <a:lnTo>
                  <a:pt x="536" y="652"/>
                </a:lnTo>
                <a:lnTo>
                  <a:pt x="539" y="642"/>
                </a:lnTo>
                <a:lnTo>
                  <a:pt x="541" y="633"/>
                </a:lnTo>
                <a:lnTo>
                  <a:pt x="552" y="634"/>
                </a:lnTo>
                <a:lnTo>
                  <a:pt x="562" y="635"/>
                </a:lnTo>
                <a:lnTo>
                  <a:pt x="569" y="635"/>
                </a:lnTo>
                <a:lnTo>
                  <a:pt x="576" y="634"/>
                </a:lnTo>
                <a:lnTo>
                  <a:pt x="583" y="632"/>
                </a:lnTo>
                <a:lnTo>
                  <a:pt x="589" y="630"/>
                </a:lnTo>
                <a:lnTo>
                  <a:pt x="596" y="627"/>
                </a:lnTo>
                <a:lnTo>
                  <a:pt x="602" y="624"/>
                </a:lnTo>
                <a:lnTo>
                  <a:pt x="608" y="620"/>
                </a:lnTo>
                <a:lnTo>
                  <a:pt x="613" y="615"/>
                </a:lnTo>
                <a:lnTo>
                  <a:pt x="620" y="606"/>
                </a:lnTo>
                <a:lnTo>
                  <a:pt x="626" y="599"/>
                </a:lnTo>
                <a:lnTo>
                  <a:pt x="629" y="590"/>
                </a:lnTo>
                <a:lnTo>
                  <a:pt x="632" y="580"/>
                </a:lnTo>
                <a:lnTo>
                  <a:pt x="633" y="571"/>
                </a:lnTo>
                <a:lnTo>
                  <a:pt x="634" y="561"/>
                </a:lnTo>
                <a:lnTo>
                  <a:pt x="633" y="551"/>
                </a:lnTo>
                <a:lnTo>
                  <a:pt x="631" y="541"/>
                </a:lnTo>
                <a:lnTo>
                  <a:pt x="641" y="540"/>
                </a:lnTo>
                <a:lnTo>
                  <a:pt x="650" y="537"/>
                </a:lnTo>
                <a:lnTo>
                  <a:pt x="659" y="533"/>
                </a:lnTo>
                <a:lnTo>
                  <a:pt x="668" y="528"/>
                </a:lnTo>
                <a:lnTo>
                  <a:pt x="674" y="521"/>
                </a:lnTo>
                <a:lnTo>
                  <a:pt x="681" y="515"/>
                </a:lnTo>
                <a:lnTo>
                  <a:pt x="686" y="506"/>
                </a:lnTo>
                <a:lnTo>
                  <a:pt x="691" y="497"/>
                </a:lnTo>
                <a:lnTo>
                  <a:pt x="694" y="488"/>
                </a:lnTo>
                <a:lnTo>
                  <a:pt x="696" y="478"/>
                </a:lnTo>
                <a:lnTo>
                  <a:pt x="696" y="468"/>
                </a:lnTo>
                <a:lnTo>
                  <a:pt x="695" y="460"/>
                </a:lnTo>
                <a:lnTo>
                  <a:pt x="694" y="450"/>
                </a:lnTo>
                <a:lnTo>
                  <a:pt x="690" y="441"/>
                </a:lnTo>
                <a:lnTo>
                  <a:pt x="685" y="432"/>
                </a:lnTo>
                <a:lnTo>
                  <a:pt x="680" y="424"/>
                </a:lnTo>
                <a:lnTo>
                  <a:pt x="689" y="419"/>
                </a:lnTo>
                <a:lnTo>
                  <a:pt x="695" y="412"/>
                </a:lnTo>
                <a:lnTo>
                  <a:pt x="702" y="405"/>
                </a:lnTo>
                <a:lnTo>
                  <a:pt x="707" y="398"/>
                </a:lnTo>
                <a:lnTo>
                  <a:pt x="713" y="389"/>
                </a:lnTo>
                <a:lnTo>
                  <a:pt x="715" y="380"/>
                </a:lnTo>
                <a:lnTo>
                  <a:pt x="717" y="370"/>
                </a:lnTo>
                <a:lnTo>
                  <a:pt x="718" y="360"/>
                </a:lnTo>
                <a:close/>
              </a:path>
            </a:pathLst>
          </a:custGeom>
          <a:solidFill>
            <a:srgbClr val="FF453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207" name="Freeform 1671">
            <a:extLst>
              <a:ext uri="{FF2B5EF4-FFF2-40B4-BE49-F238E27FC236}">
                <a16:creationId xmlns:a16="http://schemas.microsoft.com/office/drawing/2014/main" id="{B8BF74A6-AB6B-4025-B2D3-F8512A0C2547}"/>
              </a:ext>
            </a:extLst>
          </p:cNvPr>
          <p:cNvSpPr>
            <a:spLocks noEditPoints="1"/>
          </p:cNvSpPr>
          <p:nvPr/>
        </p:nvSpPr>
        <p:spPr bwMode="auto">
          <a:xfrm>
            <a:off x="9831981" y="4333596"/>
            <a:ext cx="285750" cy="285750"/>
          </a:xfrm>
          <a:custGeom>
            <a:avLst/>
            <a:gdLst>
              <a:gd name="T0" fmla="*/ 279 w 719"/>
              <a:gd name="T1" fmla="*/ 477 h 719"/>
              <a:gd name="T2" fmla="*/ 197 w 719"/>
              <a:gd name="T3" fmla="*/ 387 h 719"/>
              <a:gd name="T4" fmla="*/ 217 w 719"/>
              <a:gd name="T5" fmla="*/ 382 h 719"/>
              <a:gd name="T6" fmla="*/ 515 w 719"/>
              <a:gd name="T7" fmla="*/ 243 h 719"/>
              <a:gd name="T8" fmla="*/ 519 w 719"/>
              <a:gd name="T9" fmla="*/ 263 h 719"/>
              <a:gd name="T10" fmla="*/ 709 w 719"/>
              <a:gd name="T11" fmla="*/ 323 h 719"/>
              <a:gd name="T12" fmla="*/ 687 w 719"/>
              <a:gd name="T13" fmla="*/ 289 h 719"/>
              <a:gd name="T14" fmla="*/ 696 w 719"/>
              <a:gd name="T15" fmla="*/ 243 h 719"/>
              <a:gd name="T16" fmla="*/ 675 w 719"/>
              <a:gd name="T17" fmla="*/ 199 h 719"/>
              <a:gd name="T18" fmla="*/ 631 w 719"/>
              <a:gd name="T19" fmla="*/ 179 h 719"/>
              <a:gd name="T20" fmla="*/ 630 w 719"/>
              <a:gd name="T21" fmla="*/ 131 h 719"/>
              <a:gd name="T22" fmla="*/ 603 w 719"/>
              <a:gd name="T23" fmla="*/ 98 h 719"/>
              <a:gd name="T24" fmla="*/ 569 w 719"/>
              <a:gd name="T25" fmla="*/ 87 h 719"/>
              <a:gd name="T26" fmla="*/ 536 w 719"/>
              <a:gd name="T27" fmla="*/ 70 h 719"/>
              <a:gd name="T28" fmla="*/ 507 w 719"/>
              <a:gd name="T29" fmla="*/ 34 h 719"/>
              <a:gd name="T30" fmla="*/ 458 w 719"/>
              <a:gd name="T31" fmla="*/ 25 h 719"/>
              <a:gd name="T32" fmla="*/ 418 w 719"/>
              <a:gd name="T33" fmla="*/ 31 h 719"/>
              <a:gd name="T34" fmla="*/ 380 w 719"/>
              <a:gd name="T35" fmla="*/ 4 h 719"/>
              <a:gd name="T36" fmla="*/ 331 w 719"/>
              <a:gd name="T37" fmla="*/ 7 h 719"/>
              <a:gd name="T38" fmla="*/ 296 w 719"/>
              <a:gd name="T39" fmla="*/ 39 h 719"/>
              <a:gd name="T40" fmla="*/ 251 w 719"/>
              <a:gd name="T41" fmla="*/ 24 h 719"/>
              <a:gd name="T42" fmla="*/ 205 w 719"/>
              <a:gd name="T43" fmla="*/ 39 h 719"/>
              <a:gd name="T44" fmla="*/ 180 w 719"/>
              <a:gd name="T45" fmla="*/ 79 h 719"/>
              <a:gd name="T46" fmla="*/ 142 w 719"/>
              <a:gd name="T47" fmla="*/ 88 h 719"/>
              <a:gd name="T48" fmla="*/ 111 w 719"/>
              <a:gd name="T49" fmla="*/ 102 h 719"/>
              <a:gd name="T50" fmla="*/ 86 w 719"/>
              <a:gd name="T51" fmla="*/ 141 h 719"/>
              <a:gd name="T52" fmla="*/ 78 w 719"/>
              <a:gd name="T53" fmla="*/ 180 h 719"/>
              <a:gd name="T54" fmla="*/ 37 w 719"/>
              <a:gd name="T55" fmla="*/ 207 h 719"/>
              <a:gd name="T56" fmla="*/ 22 w 719"/>
              <a:gd name="T57" fmla="*/ 252 h 719"/>
              <a:gd name="T58" fmla="*/ 38 w 719"/>
              <a:gd name="T59" fmla="*/ 296 h 719"/>
              <a:gd name="T60" fmla="*/ 6 w 719"/>
              <a:gd name="T61" fmla="*/ 332 h 719"/>
              <a:gd name="T62" fmla="*/ 3 w 719"/>
              <a:gd name="T63" fmla="*/ 380 h 719"/>
              <a:gd name="T64" fmla="*/ 31 w 719"/>
              <a:gd name="T65" fmla="*/ 420 h 719"/>
              <a:gd name="T66" fmla="*/ 23 w 719"/>
              <a:gd name="T67" fmla="*/ 460 h 719"/>
              <a:gd name="T68" fmla="*/ 32 w 719"/>
              <a:gd name="T69" fmla="*/ 507 h 719"/>
              <a:gd name="T70" fmla="*/ 68 w 719"/>
              <a:gd name="T71" fmla="*/ 538 h 719"/>
              <a:gd name="T72" fmla="*/ 85 w 719"/>
              <a:gd name="T73" fmla="*/ 571 h 719"/>
              <a:gd name="T74" fmla="*/ 106 w 719"/>
              <a:gd name="T75" fmla="*/ 615 h 719"/>
              <a:gd name="T76" fmla="*/ 135 w 719"/>
              <a:gd name="T77" fmla="*/ 633 h 719"/>
              <a:gd name="T78" fmla="*/ 177 w 719"/>
              <a:gd name="T79" fmla="*/ 633 h 719"/>
              <a:gd name="T80" fmla="*/ 197 w 719"/>
              <a:gd name="T81" fmla="*/ 676 h 719"/>
              <a:gd name="T82" fmla="*/ 242 w 719"/>
              <a:gd name="T83" fmla="*/ 698 h 719"/>
              <a:gd name="T84" fmla="*/ 288 w 719"/>
              <a:gd name="T85" fmla="*/ 687 h 719"/>
              <a:gd name="T86" fmla="*/ 322 w 719"/>
              <a:gd name="T87" fmla="*/ 709 h 719"/>
              <a:gd name="T88" fmla="*/ 370 w 719"/>
              <a:gd name="T89" fmla="*/ 719 h 719"/>
              <a:gd name="T90" fmla="*/ 412 w 719"/>
              <a:gd name="T91" fmla="*/ 697 h 719"/>
              <a:gd name="T92" fmla="*/ 449 w 719"/>
              <a:gd name="T93" fmla="*/ 695 h 719"/>
              <a:gd name="T94" fmla="*/ 497 w 719"/>
              <a:gd name="T95" fmla="*/ 693 h 719"/>
              <a:gd name="T96" fmla="*/ 533 w 719"/>
              <a:gd name="T97" fmla="*/ 661 h 719"/>
              <a:gd name="T98" fmla="*/ 563 w 719"/>
              <a:gd name="T99" fmla="*/ 635 h 719"/>
              <a:gd name="T100" fmla="*/ 597 w 719"/>
              <a:gd name="T101" fmla="*/ 628 h 719"/>
              <a:gd name="T102" fmla="*/ 626 w 719"/>
              <a:gd name="T103" fmla="*/ 599 h 719"/>
              <a:gd name="T104" fmla="*/ 634 w 719"/>
              <a:gd name="T105" fmla="*/ 551 h 719"/>
              <a:gd name="T106" fmla="*/ 668 w 719"/>
              <a:gd name="T107" fmla="*/ 528 h 719"/>
              <a:gd name="T108" fmla="*/ 694 w 719"/>
              <a:gd name="T109" fmla="*/ 488 h 719"/>
              <a:gd name="T110" fmla="*/ 691 w 719"/>
              <a:gd name="T111" fmla="*/ 441 h 719"/>
              <a:gd name="T112" fmla="*/ 703 w 719"/>
              <a:gd name="T113" fmla="*/ 406 h 719"/>
              <a:gd name="T114" fmla="*/ 719 w 719"/>
              <a:gd name="T115" fmla="*/ 36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8" y="477"/>
                </a:lnTo>
                <a:lnTo>
                  <a:pt x="285" y="479"/>
                </a:lnTo>
                <a:lnTo>
                  <a:pt x="279" y="477"/>
                </a:lnTo>
                <a:lnTo>
                  <a:pt x="276" y="475"/>
                </a:lnTo>
                <a:lnTo>
                  <a:pt x="200" y="400"/>
                </a:lnTo>
                <a:lnTo>
                  <a:pt x="197" y="396"/>
                </a:lnTo>
                <a:lnTo>
                  <a:pt x="196" y="391"/>
                </a:lnTo>
                <a:lnTo>
                  <a:pt x="197" y="387"/>
                </a:lnTo>
                <a:lnTo>
                  <a:pt x="200" y="382"/>
                </a:lnTo>
                <a:lnTo>
                  <a:pt x="204" y="380"/>
                </a:lnTo>
                <a:lnTo>
                  <a:pt x="208" y="379"/>
                </a:lnTo>
                <a:lnTo>
                  <a:pt x="213" y="380"/>
                </a:lnTo>
                <a:lnTo>
                  <a:pt x="217" y="382"/>
                </a:lnTo>
                <a:lnTo>
                  <a:pt x="285" y="450"/>
                </a:lnTo>
                <a:lnTo>
                  <a:pt x="502" y="247"/>
                </a:lnTo>
                <a:lnTo>
                  <a:pt x="507" y="243"/>
                </a:lnTo>
                <a:lnTo>
                  <a:pt x="511" y="243"/>
                </a:lnTo>
                <a:lnTo>
                  <a:pt x="515" y="243"/>
                </a:lnTo>
                <a:lnTo>
                  <a:pt x="520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19" y="360"/>
                </a:moveTo>
                <a:lnTo>
                  <a:pt x="719" y="350"/>
                </a:lnTo>
                <a:lnTo>
                  <a:pt x="716" y="341"/>
                </a:lnTo>
                <a:lnTo>
                  <a:pt x="713" y="332"/>
                </a:lnTo>
                <a:lnTo>
                  <a:pt x="709" y="323"/>
                </a:lnTo>
                <a:lnTo>
                  <a:pt x="703" y="315"/>
                </a:lnTo>
                <a:lnTo>
                  <a:pt x="696" y="308"/>
                </a:lnTo>
                <a:lnTo>
                  <a:pt x="689" y="302"/>
                </a:lnTo>
                <a:lnTo>
                  <a:pt x="681" y="296"/>
                </a:lnTo>
                <a:lnTo>
                  <a:pt x="687" y="289"/>
                </a:lnTo>
                <a:lnTo>
                  <a:pt x="691" y="280"/>
                </a:lnTo>
                <a:lnTo>
                  <a:pt x="694" y="271"/>
                </a:lnTo>
                <a:lnTo>
                  <a:pt x="696" y="262"/>
                </a:lnTo>
                <a:lnTo>
                  <a:pt x="696" y="252"/>
                </a:lnTo>
                <a:lnTo>
                  <a:pt x="696" y="243"/>
                </a:lnTo>
                <a:lnTo>
                  <a:pt x="694" y="233"/>
                </a:lnTo>
                <a:lnTo>
                  <a:pt x="692" y="223"/>
                </a:lnTo>
                <a:lnTo>
                  <a:pt x="688" y="215"/>
                </a:lnTo>
                <a:lnTo>
                  <a:pt x="682" y="207"/>
                </a:lnTo>
                <a:lnTo>
                  <a:pt x="675" y="199"/>
                </a:lnTo>
                <a:lnTo>
                  <a:pt x="668" y="193"/>
                </a:lnTo>
                <a:lnTo>
                  <a:pt x="660" y="188"/>
                </a:lnTo>
                <a:lnTo>
                  <a:pt x="651" y="184"/>
                </a:lnTo>
                <a:lnTo>
                  <a:pt x="641" y="180"/>
                </a:lnTo>
                <a:lnTo>
                  <a:pt x="631" y="179"/>
                </a:lnTo>
                <a:lnTo>
                  <a:pt x="634" y="169"/>
                </a:lnTo>
                <a:lnTo>
                  <a:pt x="635" y="161"/>
                </a:lnTo>
                <a:lnTo>
                  <a:pt x="635" y="151"/>
                </a:lnTo>
                <a:lnTo>
                  <a:pt x="632" y="141"/>
                </a:lnTo>
                <a:lnTo>
                  <a:pt x="630" y="131"/>
                </a:lnTo>
                <a:lnTo>
                  <a:pt x="626" y="122"/>
                </a:lnTo>
                <a:lnTo>
                  <a:pt x="620" y="114"/>
                </a:lnTo>
                <a:lnTo>
                  <a:pt x="614" y="106"/>
                </a:lnTo>
                <a:lnTo>
                  <a:pt x="608" y="102"/>
                </a:lnTo>
                <a:lnTo>
                  <a:pt x="603" y="98"/>
                </a:lnTo>
                <a:lnTo>
                  <a:pt x="597" y="94"/>
                </a:lnTo>
                <a:lnTo>
                  <a:pt x="590" y="91"/>
                </a:lnTo>
                <a:lnTo>
                  <a:pt x="584" y="89"/>
                </a:lnTo>
                <a:lnTo>
                  <a:pt x="577" y="88"/>
                </a:lnTo>
                <a:lnTo>
                  <a:pt x="569" y="87"/>
                </a:lnTo>
                <a:lnTo>
                  <a:pt x="563" y="85"/>
                </a:lnTo>
                <a:lnTo>
                  <a:pt x="552" y="87"/>
                </a:lnTo>
                <a:lnTo>
                  <a:pt x="542" y="89"/>
                </a:lnTo>
                <a:lnTo>
                  <a:pt x="540" y="79"/>
                </a:lnTo>
                <a:lnTo>
                  <a:pt x="536" y="70"/>
                </a:lnTo>
                <a:lnTo>
                  <a:pt x="533" y="61"/>
                </a:lnTo>
                <a:lnTo>
                  <a:pt x="528" y="53"/>
                </a:lnTo>
                <a:lnTo>
                  <a:pt x="522" y="46"/>
                </a:lnTo>
                <a:lnTo>
                  <a:pt x="514" y="39"/>
                </a:lnTo>
                <a:lnTo>
                  <a:pt x="507" y="34"/>
                </a:lnTo>
                <a:lnTo>
                  <a:pt x="497" y="28"/>
                </a:lnTo>
                <a:lnTo>
                  <a:pt x="488" y="26"/>
                </a:lnTo>
                <a:lnTo>
                  <a:pt x="478" y="24"/>
                </a:lnTo>
                <a:lnTo>
                  <a:pt x="468" y="24"/>
                </a:lnTo>
                <a:lnTo>
                  <a:pt x="458" y="25"/>
                </a:lnTo>
                <a:lnTo>
                  <a:pt x="449" y="27"/>
                </a:lnTo>
                <a:lnTo>
                  <a:pt x="440" y="29"/>
                </a:lnTo>
                <a:lnTo>
                  <a:pt x="431" y="34"/>
                </a:lnTo>
                <a:lnTo>
                  <a:pt x="424" y="39"/>
                </a:lnTo>
                <a:lnTo>
                  <a:pt x="418" y="31"/>
                </a:lnTo>
                <a:lnTo>
                  <a:pt x="412" y="24"/>
                </a:lnTo>
                <a:lnTo>
                  <a:pt x="405" y="17"/>
                </a:lnTo>
                <a:lnTo>
                  <a:pt x="397" y="11"/>
                </a:lnTo>
                <a:lnTo>
                  <a:pt x="388" y="7"/>
                </a:lnTo>
                <a:lnTo>
                  <a:pt x="380" y="4"/>
                </a:lnTo>
                <a:lnTo>
                  <a:pt x="370" y="2"/>
                </a:lnTo>
                <a:lnTo>
                  <a:pt x="360" y="0"/>
                </a:lnTo>
                <a:lnTo>
                  <a:pt x="350" y="2"/>
                </a:lnTo>
                <a:lnTo>
                  <a:pt x="340" y="4"/>
                </a:lnTo>
                <a:lnTo>
                  <a:pt x="331" y="7"/>
                </a:lnTo>
                <a:lnTo>
                  <a:pt x="322" y="11"/>
                </a:lnTo>
                <a:lnTo>
                  <a:pt x="314" y="17"/>
                </a:lnTo>
                <a:lnTo>
                  <a:pt x="307" y="24"/>
                </a:lnTo>
                <a:lnTo>
                  <a:pt x="301" y="31"/>
                </a:lnTo>
                <a:lnTo>
                  <a:pt x="296" y="39"/>
                </a:lnTo>
                <a:lnTo>
                  <a:pt x="288" y="34"/>
                </a:lnTo>
                <a:lnTo>
                  <a:pt x="279" y="29"/>
                </a:lnTo>
                <a:lnTo>
                  <a:pt x="270" y="27"/>
                </a:lnTo>
                <a:lnTo>
                  <a:pt x="260" y="25"/>
                </a:lnTo>
                <a:lnTo>
                  <a:pt x="251" y="24"/>
                </a:lnTo>
                <a:lnTo>
                  <a:pt x="242" y="24"/>
                </a:lnTo>
                <a:lnTo>
                  <a:pt x="232" y="26"/>
                </a:lnTo>
                <a:lnTo>
                  <a:pt x="222" y="28"/>
                </a:lnTo>
                <a:lnTo>
                  <a:pt x="213" y="34"/>
                </a:lnTo>
                <a:lnTo>
                  <a:pt x="205" y="39"/>
                </a:lnTo>
                <a:lnTo>
                  <a:pt x="197" y="46"/>
                </a:lnTo>
                <a:lnTo>
                  <a:pt x="192" y="52"/>
                </a:lnTo>
                <a:lnTo>
                  <a:pt x="186" y="61"/>
                </a:lnTo>
                <a:lnTo>
                  <a:pt x="182" y="69"/>
                </a:lnTo>
                <a:lnTo>
                  <a:pt x="180" y="79"/>
                </a:lnTo>
                <a:lnTo>
                  <a:pt x="177" y="89"/>
                </a:lnTo>
                <a:lnTo>
                  <a:pt x="168" y="87"/>
                </a:lnTo>
                <a:lnTo>
                  <a:pt x="156" y="85"/>
                </a:lnTo>
                <a:lnTo>
                  <a:pt x="149" y="87"/>
                </a:lnTo>
                <a:lnTo>
                  <a:pt x="142" y="88"/>
                </a:lnTo>
                <a:lnTo>
                  <a:pt x="135" y="89"/>
                </a:lnTo>
                <a:lnTo>
                  <a:pt x="129" y="91"/>
                </a:lnTo>
                <a:lnTo>
                  <a:pt x="122" y="94"/>
                </a:lnTo>
                <a:lnTo>
                  <a:pt x="117" y="98"/>
                </a:lnTo>
                <a:lnTo>
                  <a:pt x="111" y="102"/>
                </a:lnTo>
                <a:lnTo>
                  <a:pt x="106" y="106"/>
                </a:lnTo>
                <a:lnTo>
                  <a:pt x="99" y="114"/>
                </a:lnTo>
                <a:lnTo>
                  <a:pt x="94" y="122"/>
                </a:lnTo>
                <a:lnTo>
                  <a:pt x="89" y="131"/>
                </a:lnTo>
                <a:lnTo>
                  <a:pt x="86" y="141"/>
                </a:lnTo>
                <a:lnTo>
                  <a:pt x="85" y="151"/>
                </a:lnTo>
                <a:lnTo>
                  <a:pt x="85" y="161"/>
                </a:lnTo>
                <a:lnTo>
                  <a:pt x="85" y="169"/>
                </a:lnTo>
                <a:lnTo>
                  <a:pt x="87" y="179"/>
                </a:lnTo>
                <a:lnTo>
                  <a:pt x="78" y="180"/>
                </a:lnTo>
                <a:lnTo>
                  <a:pt x="68" y="184"/>
                </a:lnTo>
                <a:lnTo>
                  <a:pt x="59" y="188"/>
                </a:lnTo>
                <a:lnTo>
                  <a:pt x="52" y="193"/>
                </a:lnTo>
                <a:lnTo>
                  <a:pt x="44" y="199"/>
                </a:lnTo>
                <a:lnTo>
                  <a:pt x="37" y="207"/>
                </a:lnTo>
                <a:lnTo>
                  <a:pt x="32" y="215"/>
                </a:lnTo>
                <a:lnTo>
                  <a:pt x="27" y="223"/>
                </a:lnTo>
                <a:lnTo>
                  <a:pt x="24" y="233"/>
                </a:lnTo>
                <a:lnTo>
                  <a:pt x="23" y="243"/>
                </a:lnTo>
                <a:lnTo>
                  <a:pt x="22" y="252"/>
                </a:lnTo>
                <a:lnTo>
                  <a:pt x="23" y="262"/>
                </a:lnTo>
                <a:lnTo>
                  <a:pt x="25" y="271"/>
                </a:lnTo>
                <a:lnTo>
                  <a:pt x="28" y="280"/>
                </a:lnTo>
                <a:lnTo>
                  <a:pt x="33" y="289"/>
                </a:lnTo>
                <a:lnTo>
                  <a:pt x="38" y="296"/>
                </a:lnTo>
                <a:lnTo>
                  <a:pt x="31" y="302"/>
                </a:lnTo>
                <a:lnTo>
                  <a:pt x="23" y="308"/>
                </a:lnTo>
                <a:lnTo>
                  <a:pt x="16" y="315"/>
                </a:lnTo>
                <a:lnTo>
                  <a:pt x="11" y="323"/>
                </a:lnTo>
                <a:lnTo>
                  <a:pt x="6" y="332"/>
                </a:lnTo>
                <a:lnTo>
                  <a:pt x="3" y="341"/>
                </a:lnTo>
                <a:lnTo>
                  <a:pt x="1" y="350"/>
                </a:lnTo>
                <a:lnTo>
                  <a:pt x="0" y="360"/>
                </a:lnTo>
                <a:lnTo>
                  <a:pt x="1" y="370"/>
                </a:lnTo>
                <a:lnTo>
                  <a:pt x="3" y="380"/>
                </a:lnTo>
                <a:lnTo>
                  <a:pt x="6" y="389"/>
                </a:lnTo>
                <a:lnTo>
                  <a:pt x="11" y="398"/>
                </a:lnTo>
                <a:lnTo>
                  <a:pt x="16" y="406"/>
                </a:lnTo>
                <a:lnTo>
                  <a:pt x="23" y="413"/>
                </a:lnTo>
                <a:lnTo>
                  <a:pt x="31" y="420"/>
                </a:lnTo>
                <a:lnTo>
                  <a:pt x="38" y="424"/>
                </a:lnTo>
                <a:lnTo>
                  <a:pt x="33" y="433"/>
                </a:lnTo>
                <a:lnTo>
                  <a:pt x="28" y="441"/>
                </a:lnTo>
                <a:lnTo>
                  <a:pt x="25" y="450"/>
                </a:lnTo>
                <a:lnTo>
                  <a:pt x="23" y="460"/>
                </a:lnTo>
                <a:lnTo>
                  <a:pt x="22" y="470"/>
                </a:lnTo>
                <a:lnTo>
                  <a:pt x="23" y="479"/>
                </a:lnTo>
                <a:lnTo>
                  <a:pt x="24" y="488"/>
                </a:lnTo>
                <a:lnTo>
                  <a:pt x="27" y="498"/>
                </a:lnTo>
                <a:lnTo>
                  <a:pt x="32" y="507"/>
                </a:lnTo>
                <a:lnTo>
                  <a:pt x="37" y="515"/>
                </a:lnTo>
                <a:lnTo>
                  <a:pt x="44" y="523"/>
                </a:lnTo>
                <a:lnTo>
                  <a:pt x="52" y="528"/>
                </a:lnTo>
                <a:lnTo>
                  <a:pt x="59" y="534"/>
                </a:lnTo>
                <a:lnTo>
                  <a:pt x="68" y="538"/>
                </a:lnTo>
                <a:lnTo>
                  <a:pt x="78" y="540"/>
                </a:lnTo>
                <a:lnTo>
                  <a:pt x="87" y="543"/>
                </a:lnTo>
                <a:lnTo>
                  <a:pt x="85" y="551"/>
                </a:lnTo>
                <a:lnTo>
                  <a:pt x="85" y="561"/>
                </a:lnTo>
                <a:lnTo>
                  <a:pt x="85" y="571"/>
                </a:lnTo>
                <a:lnTo>
                  <a:pt x="86" y="580"/>
                </a:lnTo>
                <a:lnTo>
                  <a:pt x="89" y="590"/>
                </a:lnTo>
                <a:lnTo>
                  <a:pt x="94" y="599"/>
                </a:lnTo>
                <a:lnTo>
                  <a:pt x="99" y="608"/>
                </a:lnTo>
                <a:lnTo>
                  <a:pt x="106" y="615"/>
                </a:lnTo>
                <a:lnTo>
                  <a:pt x="111" y="620"/>
                </a:lnTo>
                <a:lnTo>
                  <a:pt x="117" y="624"/>
                </a:lnTo>
                <a:lnTo>
                  <a:pt x="122" y="628"/>
                </a:lnTo>
                <a:lnTo>
                  <a:pt x="129" y="631"/>
                </a:lnTo>
                <a:lnTo>
                  <a:pt x="135" y="633"/>
                </a:lnTo>
                <a:lnTo>
                  <a:pt x="142" y="634"/>
                </a:lnTo>
                <a:lnTo>
                  <a:pt x="149" y="635"/>
                </a:lnTo>
                <a:lnTo>
                  <a:pt x="156" y="635"/>
                </a:lnTo>
                <a:lnTo>
                  <a:pt x="168" y="635"/>
                </a:lnTo>
                <a:lnTo>
                  <a:pt x="177" y="633"/>
                </a:lnTo>
                <a:lnTo>
                  <a:pt x="180" y="643"/>
                </a:lnTo>
                <a:lnTo>
                  <a:pt x="182" y="652"/>
                </a:lnTo>
                <a:lnTo>
                  <a:pt x="186" y="661"/>
                </a:lnTo>
                <a:lnTo>
                  <a:pt x="192" y="668"/>
                </a:lnTo>
                <a:lnTo>
                  <a:pt x="197" y="676"/>
                </a:lnTo>
                <a:lnTo>
                  <a:pt x="205" y="683"/>
                </a:lnTo>
                <a:lnTo>
                  <a:pt x="213" y="688"/>
                </a:lnTo>
                <a:lnTo>
                  <a:pt x="222" y="693"/>
                </a:lnTo>
                <a:lnTo>
                  <a:pt x="232" y="696"/>
                </a:lnTo>
                <a:lnTo>
                  <a:pt x="242" y="698"/>
                </a:lnTo>
                <a:lnTo>
                  <a:pt x="251" y="698"/>
                </a:lnTo>
                <a:lnTo>
                  <a:pt x="260" y="697"/>
                </a:lnTo>
                <a:lnTo>
                  <a:pt x="270" y="695"/>
                </a:lnTo>
                <a:lnTo>
                  <a:pt x="279" y="692"/>
                </a:lnTo>
                <a:lnTo>
                  <a:pt x="288" y="687"/>
                </a:lnTo>
                <a:lnTo>
                  <a:pt x="296" y="682"/>
                </a:lnTo>
                <a:lnTo>
                  <a:pt x="301" y="689"/>
                </a:lnTo>
                <a:lnTo>
                  <a:pt x="307" y="697"/>
                </a:lnTo>
                <a:lnTo>
                  <a:pt x="314" y="704"/>
                </a:lnTo>
                <a:lnTo>
                  <a:pt x="322" y="709"/>
                </a:lnTo>
                <a:lnTo>
                  <a:pt x="331" y="714"/>
                </a:lnTo>
                <a:lnTo>
                  <a:pt x="340" y="717"/>
                </a:lnTo>
                <a:lnTo>
                  <a:pt x="350" y="719"/>
                </a:lnTo>
                <a:lnTo>
                  <a:pt x="360" y="719"/>
                </a:lnTo>
                <a:lnTo>
                  <a:pt x="370" y="719"/>
                </a:lnTo>
                <a:lnTo>
                  <a:pt x="380" y="717"/>
                </a:lnTo>
                <a:lnTo>
                  <a:pt x="388" y="714"/>
                </a:lnTo>
                <a:lnTo>
                  <a:pt x="397" y="709"/>
                </a:lnTo>
                <a:lnTo>
                  <a:pt x="405" y="704"/>
                </a:lnTo>
                <a:lnTo>
                  <a:pt x="412" y="697"/>
                </a:lnTo>
                <a:lnTo>
                  <a:pt x="418" y="689"/>
                </a:lnTo>
                <a:lnTo>
                  <a:pt x="424" y="682"/>
                </a:lnTo>
                <a:lnTo>
                  <a:pt x="431" y="687"/>
                </a:lnTo>
                <a:lnTo>
                  <a:pt x="440" y="692"/>
                </a:lnTo>
                <a:lnTo>
                  <a:pt x="449" y="695"/>
                </a:lnTo>
                <a:lnTo>
                  <a:pt x="458" y="697"/>
                </a:lnTo>
                <a:lnTo>
                  <a:pt x="468" y="698"/>
                </a:lnTo>
                <a:lnTo>
                  <a:pt x="478" y="698"/>
                </a:lnTo>
                <a:lnTo>
                  <a:pt x="488" y="696"/>
                </a:lnTo>
                <a:lnTo>
                  <a:pt x="497" y="693"/>
                </a:lnTo>
                <a:lnTo>
                  <a:pt x="507" y="688"/>
                </a:lnTo>
                <a:lnTo>
                  <a:pt x="514" y="683"/>
                </a:lnTo>
                <a:lnTo>
                  <a:pt x="522" y="676"/>
                </a:lnTo>
                <a:lnTo>
                  <a:pt x="528" y="668"/>
                </a:lnTo>
                <a:lnTo>
                  <a:pt x="533" y="661"/>
                </a:lnTo>
                <a:lnTo>
                  <a:pt x="536" y="652"/>
                </a:lnTo>
                <a:lnTo>
                  <a:pt x="540" y="643"/>
                </a:lnTo>
                <a:lnTo>
                  <a:pt x="541" y="633"/>
                </a:lnTo>
                <a:lnTo>
                  <a:pt x="552" y="635"/>
                </a:lnTo>
                <a:lnTo>
                  <a:pt x="563" y="635"/>
                </a:lnTo>
                <a:lnTo>
                  <a:pt x="569" y="635"/>
                </a:lnTo>
                <a:lnTo>
                  <a:pt x="577" y="634"/>
                </a:lnTo>
                <a:lnTo>
                  <a:pt x="584" y="633"/>
                </a:lnTo>
                <a:lnTo>
                  <a:pt x="590" y="631"/>
                </a:lnTo>
                <a:lnTo>
                  <a:pt x="597" y="628"/>
                </a:lnTo>
                <a:lnTo>
                  <a:pt x="603" y="624"/>
                </a:lnTo>
                <a:lnTo>
                  <a:pt x="608" y="620"/>
                </a:lnTo>
                <a:lnTo>
                  <a:pt x="614" y="615"/>
                </a:lnTo>
                <a:lnTo>
                  <a:pt x="620" y="608"/>
                </a:lnTo>
                <a:lnTo>
                  <a:pt x="626" y="599"/>
                </a:lnTo>
                <a:lnTo>
                  <a:pt x="630" y="590"/>
                </a:lnTo>
                <a:lnTo>
                  <a:pt x="632" y="580"/>
                </a:lnTo>
                <a:lnTo>
                  <a:pt x="635" y="571"/>
                </a:lnTo>
                <a:lnTo>
                  <a:pt x="635" y="561"/>
                </a:lnTo>
                <a:lnTo>
                  <a:pt x="634" y="551"/>
                </a:lnTo>
                <a:lnTo>
                  <a:pt x="631" y="543"/>
                </a:lnTo>
                <a:lnTo>
                  <a:pt x="641" y="540"/>
                </a:lnTo>
                <a:lnTo>
                  <a:pt x="651" y="538"/>
                </a:lnTo>
                <a:lnTo>
                  <a:pt x="660" y="534"/>
                </a:lnTo>
                <a:lnTo>
                  <a:pt x="668" y="528"/>
                </a:lnTo>
                <a:lnTo>
                  <a:pt x="675" y="523"/>
                </a:lnTo>
                <a:lnTo>
                  <a:pt x="682" y="515"/>
                </a:lnTo>
                <a:lnTo>
                  <a:pt x="688" y="507"/>
                </a:lnTo>
                <a:lnTo>
                  <a:pt x="692" y="498"/>
                </a:lnTo>
                <a:lnTo>
                  <a:pt x="694" y="488"/>
                </a:lnTo>
                <a:lnTo>
                  <a:pt x="696" y="479"/>
                </a:lnTo>
                <a:lnTo>
                  <a:pt x="698" y="470"/>
                </a:lnTo>
                <a:lnTo>
                  <a:pt x="696" y="460"/>
                </a:lnTo>
                <a:lnTo>
                  <a:pt x="694" y="450"/>
                </a:lnTo>
                <a:lnTo>
                  <a:pt x="691" y="441"/>
                </a:lnTo>
                <a:lnTo>
                  <a:pt x="687" y="433"/>
                </a:lnTo>
                <a:lnTo>
                  <a:pt x="681" y="424"/>
                </a:lnTo>
                <a:lnTo>
                  <a:pt x="689" y="420"/>
                </a:lnTo>
                <a:lnTo>
                  <a:pt x="696" y="413"/>
                </a:lnTo>
                <a:lnTo>
                  <a:pt x="703" y="406"/>
                </a:lnTo>
                <a:lnTo>
                  <a:pt x="709" y="398"/>
                </a:lnTo>
                <a:lnTo>
                  <a:pt x="713" y="389"/>
                </a:lnTo>
                <a:lnTo>
                  <a:pt x="716" y="380"/>
                </a:lnTo>
                <a:lnTo>
                  <a:pt x="719" y="370"/>
                </a:lnTo>
                <a:lnTo>
                  <a:pt x="719" y="360"/>
                </a:lnTo>
                <a:close/>
              </a:path>
            </a:pathLst>
          </a:custGeom>
          <a:solidFill>
            <a:srgbClr val="5FB9C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208" name="Freeform 1671">
            <a:extLst>
              <a:ext uri="{FF2B5EF4-FFF2-40B4-BE49-F238E27FC236}">
                <a16:creationId xmlns:a16="http://schemas.microsoft.com/office/drawing/2014/main" id="{586C428B-C893-4B3D-8DDF-D7BE4003A15D}"/>
              </a:ext>
            </a:extLst>
          </p:cNvPr>
          <p:cNvSpPr>
            <a:spLocks noEditPoints="1"/>
          </p:cNvSpPr>
          <p:nvPr/>
        </p:nvSpPr>
        <p:spPr bwMode="auto">
          <a:xfrm>
            <a:off x="9831981" y="5398943"/>
            <a:ext cx="285750" cy="285750"/>
          </a:xfrm>
          <a:custGeom>
            <a:avLst/>
            <a:gdLst>
              <a:gd name="T0" fmla="*/ 279 w 719"/>
              <a:gd name="T1" fmla="*/ 477 h 719"/>
              <a:gd name="T2" fmla="*/ 197 w 719"/>
              <a:gd name="T3" fmla="*/ 387 h 719"/>
              <a:gd name="T4" fmla="*/ 217 w 719"/>
              <a:gd name="T5" fmla="*/ 382 h 719"/>
              <a:gd name="T6" fmla="*/ 515 w 719"/>
              <a:gd name="T7" fmla="*/ 243 h 719"/>
              <a:gd name="T8" fmla="*/ 519 w 719"/>
              <a:gd name="T9" fmla="*/ 263 h 719"/>
              <a:gd name="T10" fmla="*/ 709 w 719"/>
              <a:gd name="T11" fmla="*/ 323 h 719"/>
              <a:gd name="T12" fmla="*/ 687 w 719"/>
              <a:gd name="T13" fmla="*/ 289 h 719"/>
              <a:gd name="T14" fmla="*/ 696 w 719"/>
              <a:gd name="T15" fmla="*/ 243 h 719"/>
              <a:gd name="T16" fmla="*/ 675 w 719"/>
              <a:gd name="T17" fmla="*/ 199 h 719"/>
              <a:gd name="T18" fmla="*/ 631 w 719"/>
              <a:gd name="T19" fmla="*/ 179 h 719"/>
              <a:gd name="T20" fmla="*/ 630 w 719"/>
              <a:gd name="T21" fmla="*/ 131 h 719"/>
              <a:gd name="T22" fmla="*/ 603 w 719"/>
              <a:gd name="T23" fmla="*/ 98 h 719"/>
              <a:gd name="T24" fmla="*/ 569 w 719"/>
              <a:gd name="T25" fmla="*/ 87 h 719"/>
              <a:gd name="T26" fmla="*/ 536 w 719"/>
              <a:gd name="T27" fmla="*/ 70 h 719"/>
              <a:gd name="T28" fmla="*/ 507 w 719"/>
              <a:gd name="T29" fmla="*/ 34 h 719"/>
              <a:gd name="T30" fmla="*/ 458 w 719"/>
              <a:gd name="T31" fmla="*/ 25 h 719"/>
              <a:gd name="T32" fmla="*/ 418 w 719"/>
              <a:gd name="T33" fmla="*/ 31 h 719"/>
              <a:gd name="T34" fmla="*/ 380 w 719"/>
              <a:gd name="T35" fmla="*/ 4 h 719"/>
              <a:gd name="T36" fmla="*/ 331 w 719"/>
              <a:gd name="T37" fmla="*/ 7 h 719"/>
              <a:gd name="T38" fmla="*/ 296 w 719"/>
              <a:gd name="T39" fmla="*/ 39 h 719"/>
              <a:gd name="T40" fmla="*/ 251 w 719"/>
              <a:gd name="T41" fmla="*/ 24 h 719"/>
              <a:gd name="T42" fmla="*/ 205 w 719"/>
              <a:gd name="T43" fmla="*/ 39 h 719"/>
              <a:gd name="T44" fmla="*/ 180 w 719"/>
              <a:gd name="T45" fmla="*/ 79 h 719"/>
              <a:gd name="T46" fmla="*/ 142 w 719"/>
              <a:gd name="T47" fmla="*/ 88 h 719"/>
              <a:gd name="T48" fmla="*/ 111 w 719"/>
              <a:gd name="T49" fmla="*/ 102 h 719"/>
              <a:gd name="T50" fmla="*/ 86 w 719"/>
              <a:gd name="T51" fmla="*/ 141 h 719"/>
              <a:gd name="T52" fmla="*/ 78 w 719"/>
              <a:gd name="T53" fmla="*/ 180 h 719"/>
              <a:gd name="T54" fmla="*/ 37 w 719"/>
              <a:gd name="T55" fmla="*/ 207 h 719"/>
              <a:gd name="T56" fmla="*/ 22 w 719"/>
              <a:gd name="T57" fmla="*/ 252 h 719"/>
              <a:gd name="T58" fmla="*/ 38 w 719"/>
              <a:gd name="T59" fmla="*/ 296 h 719"/>
              <a:gd name="T60" fmla="*/ 6 w 719"/>
              <a:gd name="T61" fmla="*/ 332 h 719"/>
              <a:gd name="T62" fmla="*/ 3 w 719"/>
              <a:gd name="T63" fmla="*/ 380 h 719"/>
              <a:gd name="T64" fmla="*/ 31 w 719"/>
              <a:gd name="T65" fmla="*/ 420 h 719"/>
              <a:gd name="T66" fmla="*/ 23 w 719"/>
              <a:gd name="T67" fmla="*/ 460 h 719"/>
              <a:gd name="T68" fmla="*/ 32 w 719"/>
              <a:gd name="T69" fmla="*/ 507 h 719"/>
              <a:gd name="T70" fmla="*/ 68 w 719"/>
              <a:gd name="T71" fmla="*/ 538 h 719"/>
              <a:gd name="T72" fmla="*/ 85 w 719"/>
              <a:gd name="T73" fmla="*/ 571 h 719"/>
              <a:gd name="T74" fmla="*/ 106 w 719"/>
              <a:gd name="T75" fmla="*/ 615 h 719"/>
              <a:gd name="T76" fmla="*/ 135 w 719"/>
              <a:gd name="T77" fmla="*/ 633 h 719"/>
              <a:gd name="T78" fmla="*/ 177 w 719"/>
              <a:gd name="T79" fmla="*/ 633 h 719"/>
              <a:gd name="T80" fmla="*/ 197 w 719"/>
              <a:gd name="T81" fmla="*/ 676 h 719"/>
              <a:gd name="T82" fmla="*/ 242 w 719"/>
              <a:gd name="T83" fmla="*/ 698 h 719"/>
              <a:gd name="T84" fmla="*/ 288 w 719"/>
              <a:gd name="T85" fmla="*/ 687 h 719"/>
              <a:gd name="T86" fmla="*/ 322 w 719"/>
              <a:gd name="T87" fmla="*/ 709 h 719"/>
              <a:gd name="T88" fmla="*/ 370 w 719"/>
              <a:gd name="T89" fmla="*/ 719 h 719"/>
              <a:gd name="T90" fmla="*/ 412 w 719"/>
              <a:gd name="T91" fmla="*/ 697 h 719"/>
              <a:gd name="T92" fmla="*/ 449 w 719"/>
              <a:gd name="T93" fmla="*/ 695 h 719"/>
              <a:gd name="T94" fmla="*/ 497 w 719"/>
              <a:gd name="T95" fmla="*/ 693 h 719"/>
              <a:gd name="T96" fmla="*/ 533 w 719"/>
              <a:gd name="T97" fmla="*/ 661 h 719"/>
              <a:gd name="T98" fmla="*/ 563 w 719"/>
              <a:gd name="T99" fmla="*/ 635 h 719"/>
              <a:gd name="T100" fmla="*/ 597 w 719"/>
              <a:gd name="T101" fmla="*/ 628 h 719"/>
              <a:gd name="T102" fmla="*/ 626 w 719"/>
              <a:gd name="T103" fmla="*/ 599 h 719"/>
              <a:gd name="T104" fmla="*/ 634 w 719"/>
              <a:gd name="T105" fmla="*/ 551 h 719"/>
              <a:gd name="T106" fmla="*/ 668 w 719"/>
              <a:gd name="T107" fmla="*/ 528 h 719"/>
              <a:gd name="T108" fmla="*/ 694 w 719"/>
              <a:gd name="T109" fmla="*/ 488 h 719"/>
              <a:gd name="T110" fmla="*/ 691 w 719"/>
              <a:gd name="T111" fmla="*/ 441 h 719"/>
              <a:gd name="T112" fmla="*/ 703 w 719"/>
              <a:gd name="T113" fmla="*/ 406 h 719"/>
              <a:gd name="T114" fmla="*/ 719 w 719"/>
              <a:gd name="T115" fmla="*/ 36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8" y="477"/>
                </a:lnTo>
                <a:lnTo>
                  <a:pt x="285" y="479"/>
                </a:lnTo>
                <a:lnTo>
                  <a:pt x="279" y="477"/>
                </a:lnTo>
                <a:lnTo>
                  <a:pt x="276" y="475"/>
                </a:lnTo>
                <a:lnTo>
                  <a:pt x="200" y="400"/>
                </a:lnTo>
                <a:lnTo>
                  <a:pt x="197" y="396"/>
                </a:lnTo>
                <a:lnTo>
                  <a:pt x="196" y="391"/>
                </a:lnTo>
                <a:lnTo>
                  <a:pt x="197" y="387"/>
                </a:lnTo>
                <a:lnTo>
                  <a:pt x="200" y="382"/>
                </a:lnTo>
                <a:lnTo>
                  <a:pt x="204" y="380"/>
                </a:lnTo>
                <a:lnTo>
                  <a:pt x="208" y="379"/>
                </a:lnTo>
                <a:lnTo>
                  <a:pt x="213" y="380"/>
                </a:lnTo>
                <a:lnTo>
                  <a:pt x="217" y="382"/>
                </a:lnTo>
                <a:lnTo>
                  <a:pt x="285" y="450"/>
                </a:lnTo>
                <a:lnTo>
                  <a:pt x="502" y="247"/>
                </a:lnTo>
                <a:lnTo>
                  <a:pt x="507" y="243"/>
                </a:lnTo>
                <a:lnTo>
                  <a:pt x="511" y="243"/>
                </a:lnTo>
                <a:lnTo>
                  <a:pt x="515" y="243"/>
                </a:lnTo>
                <a:lnTo>
                  <a:pt x="520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19" y="360"/>
                </a:moveTo>
                <a:lnTo>
                  <a:pt x="719" y="350"/>
                </a:lnTo>
                <a:lnTo>
                  <a:pt x="716" y="341"/>
                </a:lnTo>
                <a:lnTo>
                  <a:pt x="713" y="332"/>
                </a:lnTo>
                <a:lnTo>
                  <a:pt x="709" y="323"/>
                </a:lnTo>
                <a:lnTo>
                  <a:pt x="703" y="315"/>
                </a:lnTo>
                <a:lnTo>
                  <a:pt x="696" y="308"/>
                </a:lnTo>
                <a:lnTo>
                  <a:pt x="689" y="302"/>
                </a:lnTo>
                <a:lnTo>
                  <a:pt x="681" y="296"/>
                </a:lnTo>
                <a:lnTo>
                  <a:pt x="687" y="289"/>
                </a:lnTo>
                <a:lnTo>
                  <a:pt x="691" y="280"/>
                </a:lnTo>
                <a:lnTo>
                  <a:pt x="694" y="271"/>
                </a:lnTo>
                <a:lnTo>
                  <a:pt x="696" y="262"/>
                </a:lnTo>
                <a:lnTo>
                  <a:pt x="696" y="252"/>
                </a:lnTo>
                <a:lnTo>
                  <a:pt x="696" y="243"/>
                </a:lnTo>
                <a:lnTo>
                  <a:pt x="694" y="233"/>
                </a:lnTo>
                <a:lnTo>
                  <a:pt x="692" y="223"/>
                </a:lnTo>
                <a:lnTo>
                  <a:pt x="688" y="215"/>
                </a:lnTo>
                <a:lnTo>
                  <a:pt x="682" y="207"/>
                </a:lnTo>
                <a:lnTo>
                  <a:pt x="675" y="199"/>
                </a:lnTo>
                <a:lnTo>
                  <a:pt x="668" y="193"/>
                </a:lnTo>
                <a:lnTo>
                  <a:pt x="660" y="188"/>
                </a:lnTo>
                <a:lnTo>
                  <a:pt x="651" y="184"/>
                </a:lnTo>
                <a:lnTo>
                  <a:pt x="641" y="180"/>
                </a:lnTo>
                <a:lnTo>
                  <a:pt x="631" y="179"/>
                </a:lnTo>
                <a:lnTo>
                  <a:pt x="634" y="169"/>
                </a:lnTo>
                <a:lnTo>
                  <a:pt x="635" y="161"/>
                </a:lnTo>
                <a:lnTo>
                  <a:pt x="635" y="151"/>
                </a:lnTo>
                <a:lnTo>
                  <a:pt x="632" y="141"/>
                </a:lnTo>
                <a:lnTo>
                  <a:pt x="630" y="131"/>
                </a:lnTo>
                <a:lnTo>
                  <a:pt x="626" y="122"/>
                </a:lnTo>
                <a:lnTo>
                  <a:pt x="620" y="114"/>
                </a:lnTo>
                <a:lnTo>
                  <a:pt x="614" y="106"/>
                </a:lnTo>
                <a:lnTo>
                  <a:pt x="608" y="102"/>
                </a:lnTo>
                <a:lnTo>
                  <a:pt x="603" y="98"/>
                </a:lnTo>
                <a:lnTo>
                  <a:pt x="597" y="94"/>
                </a:lnTo>
                <a:lnTo>
                  <a:pt x="590" y="91"/>
                </a:lnTo>
                <a:lnTo>
                  <a:pt x="584" y="89"/>
                </a:lnTo>
                <a:lnTo>
                  <a:pt x="577" y="88"/>
                </a:lnTo>
                <a:lnTo>
                  <a:pt x="569" y="87"/>
                </a:lnTo>
                <a:lnTo>
                  <a:pt x="563" y="85"/>
                </a:lnTo>
                <a:lnTo>
                  <a:pt x="552" y="87"/>
                </a:lnTo>
                <a:lnTo>
                  <a:pt x="542" y="89"/>
                </a:lnTo>
                <a:lnTo>
                  <a:pt x="540" y="79"/>
                </a:lnTo>
                <a:lnTo>
                  <a:pt x="536" y="70"/>
                </a:lnTo>
                <a:lnTo>
                  <a:pt x="533" y="61"/>
                </a:lnTo>
                <a:lnTo>
                  <a:pt x="528" y="53"/>
                </a:lnTo>
                <a:lnTo>
                  <a:pt x="522" y="46"/>
                </a:lnTo>
                <a:lnTo>
                  <a:pt x="514" y="39"/>
                </a:lnTo>
                <a:lnTo>
                  <a:pt x="507" y="34"/>
                </a:lnTo>
                <a:lnTo>
                  <a:pt x="497" y="28"/>
                </a:lnTo>
                <a:lnTo>
                  <a:pt x="488" y="26"/>
                </a:lnTo>
                <a:lnTo>
                  <a:pt x="478" y="24"/>
                </a:lnTo>
                <a:lnTo>
                  <a:pt x="468" y="24"/>
                </a:lnTo>
                <a:lnTo>
                  <a:pt x="458" y="25"/>
                </a:lnTo>
                <a:lnTo>
                  <a:pt x="449" y="27"/>
                </a:lnTo>
                <a:lnTo>
                  <a:pt x="440" y="29"/>
                </a:lnTo>
                <a:lnTo>
                  <a:pt x="431" y="34"/>
                </a:lnTo>
                <a:lnTo>
                  <a:pt x="424" y="39"/>
                </a:lnTo>
                <a:lnTo>
                  <a:pt x="418" y="31"/>
                </a:lnTo>
                <a:lnTo>
                  <a:pt x="412" y="24"/>
                </a:lnTo>
                <a:lnTo>
                  <a:pt x="405" y="17"/>
                </a:lnTo>
                <a:lnTo>
                  <a:pt x="397" y="11"/>
                </a:lnTo>
                <a:lnTo>
                  <a:pt x="388" y="7"/>
                </a:lnTo>
                <a:lnTo>
                  <a:pt x="380" y="4"/>
                </a:lnTo>
                <a:lnTo>
                  <a:pt x="370" y="2"/>
                </a:lnTo>
                <a:lnTo>
                  <a:pt x="360" y="0"/>
                </a:lnTo>
                <a:lnTo>
                  <a:pt x="350" y="2"/>
                </a:lnTo>
                <a:lnTo>
                  <a:pt x="340" y="4"/>
                </a:lnTo>
                <a:lnTo>
                  <a:pt x="331" y="7"/>
                </a:lnTo>
                <a:lnTo>
                  <a:pt x="322" y="11"/>
                </a:lnTo>
                <a:lnTo>
                  <a:pt x="314" y="17"/>
                </a:lnTo>
                <a:lnTo>
                  <a:pt x="307" y="24"/>
                </a:lnTo>
                <a:lnTo>
                  <a:pt x="301" y="31"/>
                </a:lnTo>
                <a:lnTo>
                  <a:pt x="296" y="39"/>
                </a:lnTo>
                <a:lnTo>
                  <a:pt x="288" y="34"/>
                </a:lnTo>
                <a:lnTo>
                  <a:pt x="279" y="29"/>
                </a:lnTo>
                <a:lnTo>
                  <a:pt x="270" y="27"/>
                </a:lnTo>
                <a:lnTo>
                  <a:pt x="260" y="25"/>
                </a:lnTo>
                <a:lnTo>
                  <a:pt x="251" y="24"/>
                </a:lnTo>
                <a:lnTo>
                  <a:pt x="242" y="24"/>
                </a:lnTo>
                <a:lnTo>
                  <a:pt x="232" y="26"/>
                </a:lnTo>
                <a:lnTo>
                  <a:pt x="222" y="28"/>
                </a:lnTo>
                <a:lnTo>
                  <a:pt x="213" y="34"/>
                </a:lnTo>
                <a:lnTo>
                  <a:pt x="205" y="39"/>
                </a:lnTo>
                <a:lnTo>
                  <a:pt x="197" y="46"/>
                </a:lnTo>
                <a:lnTo>
                  <a:pt x="192" y="52"/>
                </a:lnTo>
                <a:lnTo>
                  <a:pt x="186" y="61"/>
                </a:lnTo>
                <a:lnTo>
                  <a:pt x="182" y="69"/>
                </a:lnTo>
                <a:lnTo>
                  <a:pt x="180" y="79"/>
                </a:lnTo>
                <a:lnTo>
                  <a:pt x="177" y="89"/>
                </a:lnTo>
                <a:lnTo>
                  <a:pt x="168" y="87"/>
                </a:lnTo>
                <a:lnTo>
                  <a:pt x="156" y="85"/>
                </a:lnTo>
                <a:lnTo>
                  <a:pt x="149" y="87"/>
                </a:lnTo>
                <a:lnTo>
                  <a:pt x="142" y="88"/>
                </a:lnTo>
                <a:lnTo>
                  <a:pt x="135" y="89"/>
                </a:lnTo>
                <a:lnTo>
                  <a:pt x="129" y="91"/>
                </a:lnTo>
                <a:lnTo>
                  <a:pt x="122" y="94"/>
                </a:lnTo>
                <a:lnTo>
                  <a:pt x="117" y="98"/>
                </a:lnTo>
                <a:lnTo>
                  <a:pt x="111" y="102"/>
                </a:lnTo>
                <a:lnTo>
                  <a:pt x="106" y="106"/>
                </a:lnTo>
                <a:lnTo>
                  <a:pt x="99" y="114"/>
                </a:lnTo>
                <a:lnTo>
                  <a:pt x="94" y="122"/>
                </a:lnTo>
                <a:lnTo>
                  <a:pt x="89" y="131"/>
                </a:lnTo>
                <a:lnTo>
                  <a:pt x="86" y="141"/>
                </a:lnTo>
                <a:lnTo>
                  <a:pt x="85" y="151"/>
                </a:lnTo>
                <a:lnTo>
                  <a:pt x="85" y="161"/>
                </a:lnTo>
                <a:lnTo>
                  <a:pt x="85" y="169"/>
                </a:lnTo>
                <a:lnTo>
                  <a:pt x="87" y="179"/>
                </a:lnTo>
                <a:lnTo>
                  <a:pt x="78" y="180"/>
                </a:lnTo>
                <a:lnTo>
                  <a:pt x="68" y="184"/>
                </a:lnTo>
                <a:lnTo>
                  <a:pt x="59" y="188"/>
                </a:lnTo>
                <a:lnTo>
                  <a:pt x="52" y="193"/>
                </a:lnTo>
                <a:lnTo>
                  <a:pt x="44" y="199"/>
                </a:lnTo>
                <a:lnTo>
                  <a:pt x="37" y="207"/>
                </a:lnTo>
                <a:lnTo>
                  <a:pt x="32" y="215"/>
                </a:lnTo>
                <a:lnTo>
                  <a:pt x="27" y="223"/>
                </a:lnTo>
                <a:lnTo>
                  <a:pt x="24" y="233"/>
                </a:lnTo>
                <a:lnTo>
                  <a:pt x="23" y="243"/>
                </a:lnTo>
                <a:lnTo>
                  <a:pt x="22" y="252"/>
                </a:lnTo>
                <a:lnTo>
                  <a:pt x="23" y="262"/>
                </a:lnTo>
                <a:lnTo>
                  <a:pt x="25" y="271"/>
                </a:lnTo>
                <a:lnTo>
                  <a:pt x="28" y="280"/>
                </a:lnTo>
                <a:lnTo>
                  <a:pt x="33" y="289"/>
                </a:lnTo>
                <a:lnTo>
                  <a:pt x="38" y="296"/>
                </a:lnTo>
                <a:lnTo>
                  <a:pt x="31" y="302"/>
                </a:lnTo>
                <a:lnTo>
                  <a:pt x="23" y="308"/>
                </a:lnTo>
                <a:lnTo>
                  <a:pt x="16" y="315"/>
                </a:lnTo>
                <a:lnTo>
                  <a:pt x="11" y="323"/>
                </a:lnTo>
                <a:lnTo>
                  <a:pt x="6" y="332"/>
                </a:lnTo>
                <a:lnTo>
                  <a:pt x="3" y="341"/>
                </a:lnTo>
                <a:lnTo>
                  <a:pt x="1" y="350"/>
                </a:lnTo>
                <a:lnTo>
                  <a:pt x="0" y="360"/>
                </a:lnTo>
                <a:lnTo>
                  <a:pt x="1" y="370"/>
                </a:lnTo>
                <a:lnTo>
                  <a:pt x="3" y="380"/>
                </a:lnTo>
                <a:lnTo>
                  <a:pt x="6" y="389"/>
                </a:lnTo>
                <a:lnTo>
                  <a:pt x="11" y="398"/>
                </a:lnTo>
                <a:lnTo>
                  <a:pt x="16" y="406"/>
                </a:lnTo>
                <a:lnTo>
                  <a:pt x="23" y="413"/>
                </a:lnTo>
                <a:lnTo>
                  <a:pt x="31" y="420"/>
                </a:lnTo>
                <a:lnTo>
                  <a:pt x="38" y="424"/>
                </a:lnTo>
                <a:lnTo>
                  <a:pt x="33" y="433"/>
                </a:lnTo>
                <a:lnTo>
                  <a:pt x="28" y="441"/>
                </a:lnTo>
                <a:lnTo>
                  <a:pt x="25" y="450"/>
                </a:lnTo>
                <a:lnTo>
                  <a:pt x="23" y="460"/>
                </a:lnTo>
                <a:lnTo>
                  <a:pt x="22" y="470"/>
                </a:lnTo>
                <a:lnTo>
                  <a:pt x="23" y="479"/>
                </a:lnTo>
                <a:lnTo>
                  <a:pt x="24" y="488"/>
                </a:lnTo>
                <a:lnTo>
                  <a:pt x="27" y="498"/>
                </a:lnTo>
                <a:lnTo>
                  <a:pt x="32" y="507"/>
                </a:lnTo>
                <a:lnTo>
                  <a:pt x="37" y="515"/>
                </a:lnTo>
                <a:lnTo>
                  <a:pt x="44" y="523"/>
                </a:lnTo>
                <a:lnTo>
                  <a:pt x="52" y="528"/>
                </a:lnTo>
                <a:lnTo>
                  <a:pt x="59" y="534"/>
                </a:lnTo>
                <a:lnTo>
                  <a:pt x="68" y="538"/>
                </a:lnTo>
                <a:lnTo>
                  <a:pt x="78" y="540"/>
                </a:lnTo>
                <a:lnTo>
                  <a:pt x="87" y="543"/>
                </a:lnTo>
                <a:lnTo>
                  <a:pt x="85" y="551"/>
                </a:lnTo>
                <a:lnTo>
                  <a:pt x="85" y="561"/>
                </a:lnTo>
                <a:lnTo>
                  <a:pt x="85" y="571"/>
                </a:lnTo>
                <a:lnTo>
                  <a:pt x="86" y="580"/>
                </a:lnTo>
                <a:lnTo>
                  <a:pt x="89" y="590"/>
                </a:lnTo>
                <a:lnTo>
                  <a:pt x="94" y="599"/>
                </a:lnTo>
                <a:lnTo>
                  <a:pt x="99" y="608"/>
                </a:lnTo>
                <a:lnTo>
                  <a:pt x="106" y="615"/>
                </a:lnTo>
                <a:lnTo>
                  <a:pt x="111" y="620"/>
                </a:lnTo>
                <a:lnTo>
                  <a:pt x="117" y="624"/>
                </a:lnTo>
                <a:lnTo>
                  <a:pt x="122" y="628"/>
                </a:lnTo>
                <a:lnTo>
                  <a:pt x="129" y="631"/>
                </a:lnTo>
                <a:lnTo>
                  <a:pt x="135" y="633"/>
                </a:lnTo>
                <a:lnTo>
                  <a:pt x="142" y="634"/>
                </a:lnTo>
                <a:lnTo>
                  <a:pt x="149" y="635"/>
                </a:lnTo>
                <a:lnTo>
                  <a:pt x="156" y="635"/>
                </a:lnTo>
                <a:lnTo>
                  <a:pt x="168" y="635"/>
                </a:lnTo>
                <a:lnTo>
                  <a:pt x="177" y="633"/>
                </a:lnTo>
                <a:lnTo>
                  <a:pt x="180" y="643"/>
                </a:lnTo>
                <a:lnTo>
                  <a:pt x="182" y="652"/>
                </a:lnTo>
                <a:lnTo>
                  <a:pt x="186" y="661"/>
                </a:lnTo>
                <a:lnTo>
                  <a:pt x="192" y="668"/>
                </a:lnTo>
                <a:lnTo>
                  <a:pt x="197" y="676"/>
                </a:lnTo>
                <a:lnTo>
                  <a:pt x="205" y="683"/>
                </a:lnTo>
                <a:lnTo>
                  <a:pt x="213" y="688"/>
                </a:lnTo>
                <a:lnTo>
                  <a:pt x="222" y="693"/>
                </a:lnTo>
                <a:lnTo>
                  <a:pt x="232" y="696"/>
                </a:lnTo>
                <a:lnTo>
                  <a:pt x="242" y="698"/>
                </a:lnTo>
                <a:lnTo>
                  <a:pt x="251" y="698"/>
                </a:lnTo>
                <a:lnTo>
                  <a:pt x="260" y="697"/>
                </a:lnTo>
                <a:lnTo>
                  <a:pt x="270" y="695"/>
                </a:lnTo>
                <a:lnTo>
                  <a:pt x="279" y="692"/>
                </a:lnTo>
                <a:lnTo>
                  <a:pt x="288" y="687"/>
                </a:lnTo>
                <a:lnTo>
                  <a:pt x="296" y="682"/>
                </a:lnTo>
                <a:lnTo>
                  <a:pt x="301" y="689"/>
                </a:lnTo>
                <a:lnTo>
                  <a:pt x="307" y="697"/>
                </a:lnTo>
                <a:lnTo>
                  <a:pt x="314" y="704"/>
                </a:lnTo>
                <a:lnTo>
                  <a:pt x="322" y="709"/>
                </a:lnTo>
                <a:lnTo>
                  <a:pt x="331" y="714"/>
                </a:lnTo>
                <a:lnTo>
                  <a:pt x="340" y="717"/>
                </a:lnTo>
                <a:lnTo>
                  <a:pt x="350" y="719"/>
                </a:lnTo>
                <a:lnTo>
                  <a:pt x="360" y="719"/>
                </a:lnTo>
                <a:lnTo>
                  <a:pt x="370" y="719"/>
                </a:lnTo>
                <a:lnTo>
                  <a:pt x="380" y="717"/>
                </a:lnTo>
                <a:lnTo>
                  <a:pt x="388" y="714"/>
                </a:lnTo>
                <a:lnTo>
                  <a:pt x="397" y="709"/>
                </a:lnTo>
                <a:lnTo>
                  <a:pt x="405" y="704"/>
                </a:lnTo>
                <a:lnTo>
                  <a:pt x="412" y="697"/>
                </a:lnTo>
                <a:lnTo>
                  <a:pt x="418" y="689"/>
                </a:lnTo>
                <a:lnTo>
                  <a:pt x="424" y="682"/>
                </a:lnTo>
                <a:lnTo>
                  <a:pt x="431" y="687"/>
                </a:lnTo>
                <a:lnTo>
                  <a:pt x="440" y="692"/>
                </a:lnTo>
                <a:lnTo>
                  <a:pt x="449" y="695"/>
                </a:lnTo>
                <a:lnTo>
                  <a:pt x="458" y="697"/>
                </a:lnTo>
                <a:lnTo>
                  <a:pt x="468" y="698"/>
                </a:lnTo>
                <a:lnTo>
                  <a:pt x="478" y="698"/>
                </a:lnTo>
                <a:lnTo>
                  <a:pt x="488" y="696"/>
                </a:lnTo>
                <a:lnTo>
                  <a:pt x="497" y="693"/>
                </a:lnTo>
                <a:lnTo>
                  <a:pt x="507" y="688"/>
                </a:lnTo>
                <a:lnTo>
                  <a:pt x="514" y="683"/>
                </a:lnTo>
                <a:lnTo>
                  <a:pt x="522" y="676"/>
                </a:lnTo>
                <a:lnTo>
                  <a:pt x="528" y="668"/>
                </a:lnTo>
                <a:lnTo>
                  <a:pt x="533" y="661"/>
                </a:lnTo>
                <a:lnTo>
                  <a:pt x="536" y="652"/>
                </a:lnTo>
                <a:lnTo>
                  <a:pt x="540" y="643"/>
                </a:lnTo>
                <a:lnTo>
                  <a:pt x="541" y="633"/>
                </a:lnTo>
                <a:lnTo>
                  <a:pt x="552" y="635"/>
                </a:lnTo>
                <a:lnTo>
                  <a:pt x="563" y="635"/>
                </a:lnTo>
                <a:lnTo>
                  <a:pt x="569" y="635"/>
                </a:lnTo>
                <a:lnTo>
                  <a:pt x="577" y="634"/>
                </a:lnTo>
                <a:lnTo>
                  <a:pt x="584" y="633"/>
                </a:lnTo>
                <a:lnTo>
                  <a:pt x="590" y="631"/>
                </a:lnTo>
                <a:lnTo>
                  <a:pt x="597" y="628"/>
                </a:lnTo>
                <a:lnTo>
                  <a:pt x="603" y="624"/>
                </a:lnTo>
                <a:lnTo>
                  <a:pt x="608" y="620"/>
                </a:lnTo>
                <a:lnTo>
                  <a:pt x="614" y="615"/>
                </a:lnTo>
                <a:lnTo>
                  <a:pt x="620" y="608"/>
                </a:lnTo>
                <a:lnTo>
                  <a:pt x="626" y="599"/>
                </a:lnTo>
                <a:lnTo>
                  <a:pt x="630" y="590"/>
                </a:lnTo>
                <a:lnTo>
                  <a:pt x="632" y="580"/>
                </a:lnTo>
                <a:lnTo>
                  <a:pt x="635" y="571"/>
                </a:lnTo>
                <a:lnTo>
                  <a:pt x="635" y="561"/>
                </a:lnTo>
                <a:lnTo>
                  <a:pt x="634" y="551"/>
                </a:lnTo>
                <a:lnTo>
                  <a:pt x="631" y="543"/>
                </a:lnTo>
                <a:lnTo>
                  <a:pt x="641" y="540"/>
                </a:lnTo>
                <a:lnTo>
                  <a:pt x="651" y="538"/>
                </a:lnTo>
                <a:lnTo>
                  <a:pt x="660" y="534"/>
                </a:lnTo>
                <a:lnTo>
                  <a:pt x="668" y="528"/>
                </a:lnTo>
                <a:lnTo>
                  <a:pt x="675" y="523"/>
                </a:lnTo>
                <a:lnTo>
                  <a:pt x="682" y="515"/>
                </a:lnTo>
                <a:lnTo>
                  <a:pt x="688" y="507"/>
                </a:lnTo>
                <a:lnTo>
                  <a:pt x="692" y="498"/>
                </a:lnTo>
                <a:lnTo>
                  <a:pt x="694" y="488"/>
                </a:lnTo>
                <a:lnTo>
                  <a:pt x="696" y="479"/>
                </a:lnTo>
                <a:lnTo>
                  <a:pt x="698" y="470"/>
                </a:lnTo>
                <a:lnTo>
                  <a:pt x="696" y="460"/>
                </a:lnTo>
                <a:lnTo>
                  <a:pt x="694" y="450"/>
                </a:lnTo>
                <a:lnTo>
                  <a:pt x="691" y="441"/>
                </a:lnTo>
                <a:lnTo>
                  <a:pt x="687" y="433"/>
                </a:lnTo>
                <a:lnTo>
                  <a:pt x="681" y="424"/>
                </a:lnTo>
                <a:lnTo>
                  <a:pt x="689" y="420"/>
                </a:lnTo>
                <a:lnTo>
                  <a:pt x="696" y="413"/>
                </a:lnTo>
                <a:lnTo>
                  <a:pt x="703" y="406"/>
                </a:lnTo>
                <a:lnTo>
                  <a:pt x="709" y="398"/>
                </a:lnTo>
                <a:lnTo>
                  <a:pt x="713" y="389"/>
                </a:lnTo>
                <a:lnTo>
                  <a:pt x="716" y="380"/>
                </a:lnTo>
                <a:lnTo>
                  <a:pt x="719" y="370"/>
                </a:lnTo>
                <a:lnTo>
                  <a:pt x="719" y="36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144ACE0-C64C-491C-8C0F-9CA49A5ED93E}"/>
              </a:ext>
            </a:extLst>
          </p:cNvPr>
          <p:cNvSpPr/>
          <p:nvPr/>
        </p:nvSpPr>
        <p:spPr>
          <a:xfrm>
            <a:off x="6675470" y="4197284"/>
            <a:ext cx="2834638" cy="64633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400" b="1" dirty="0">
                <a:solidFill>
                  <a:schemeClr val="bg1"/>
                </a:solidFill>
                <a:latin typeface="Montserrat" pitchFamily="2" charset="0"/>
              </a:rPr>
              <a:t>Sample Rubric to Measure Quality of ELO Design Process &amp; Intended Outcome </a:t>
            </a:r>
          </a:p>
        </p:txBody>
      </p:sp>
      <p:sp>
        <p:nvSpPr>
          <p:cNvPr id="77" name="Rectangle 76">
            <a:hlinkClick r:id="rId8"/>
            <a:extLst>
              <a:ext uri="{FF2B5EF4-FFF2-40B4-BE49-F238E27FC236}">
                <a16:creationId xmlns:a16="http://schemas.microsoft.com/office/drawing/2014/main" id="{2EC32FF0-7D40-404D-8DD0-EA18A935DDBE}"/>
              </a:ext>
            </a:extLst>
          </p:cNvPr>
          <p:cNvSpPr/>
          <p:nvPr/>
        </p:nvSpPr>
        <p:spPr>
          <a:xfrm>
            <a:off x="4190202" y="3676438"/>
            <a:ext cx="1810548" cy="92333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dirty="0">
                <a:solidFill>
                  <a:schemeClr val="bg1"/>
                </a:solidFill>
                <a:latin typeface="Montserrat" pitchFamily="2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ELA ELO Sample Rubric</a:t>
            </a:r>
            <a:endParaRPr lang="en-US" sz="2000" dirty="0">
              <a:solidFill>
                <a:schemeClr val="bg1"/>
              </a:solidFill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18370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Oval 81">
            <a:extLst>
              <a:ext uri="{FF2B5EF4-FFF2-40B4-BE49-F238E27FC236}">
                <a16:creationId xmlns:a16="http://schemas.microsoft.com/office/drawing/2014/main" id="{692C792F-CC81-4227-AA4D-1B1F9CA91FB8}"/>
              </a:ext>
            </a:extLst>
          </p:cNvPr>
          <p:cNvSpPr/>
          <p:nvPr/>
        </p:nvSpPr>
        <p:spPr>
          <a:xfrm>
            <a:off x="6982050" y="2294379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0EC2FEF2-B841-4B4C-827D-448CC96CAC56}"/>
              </a:ext>
            </a:extLst>
          </p:cNvPr>
          <p:cNvSpPr/>
          <p:nvPr/>
        </p:nvSpPr>
        <p:spPr>
          <a:xfrm>
            <a:off x="7404063" y="4768756"/>
            <a:ext cx="796354" cy="707916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0C757359-D767-4BCB-A1E0-F77640856F3C}"/>
              </a:ext>
            </a:extLst>
          </p:cNvPr>
          <p:cNvSpPr/>
          <p:nvPr/>
        </p:nvSpPr>
        <p:spPr>
          <a:xfrm>
            <a:off x="4413251" y="5221967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9FD3C3EE-7FBA-4B5A-B188-83E45DF333F1}"/>
              </a:ext>
            </a:extLst>
          </p:cNvPr>
          <p:cNvSpPr/>
          <p:nvPr/>
        </p:nvSpPr>
        <p:spPr>
          <a:xfrm>
            <a:off x="7568552" y="3993363"/>
            <a:ext cx="822780" cy="746899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25BF5076-0554-4E6D-B18D-DDC48389B7F6}"/>
              </a:ext>
            </a:extLst>
          </p:cNvPr>
          <p:cNvSpPr/>
          <p:nvPr/>
        </p:nvSpPr>
        <p:spPr>
          <a:xfrm>
            <a:off x="3770085" y="4306659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EA2E6F60-ABE7-406C-AFB5-6673E55C1242}"/>
              </a:ext>
            </a:extLst>
          </p:cNvPr>
          <p:cNvSpPr/>
          <p:nvPr/>
        </p:nvSpPr>
        <p:spPr>
          <a:xfrm>
            <a:off x="7554696" y="3116591"/>
            <a:ext cx="828080" cy="791515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65A1CF35-DD44-4C30-8F42-07B947C079DE}"/>
              </a:ext>
            </a:extLst>
          </p:cNvPr>
          <p:cNvSpPr/>
          <p:nvPr/>
        </p:nvSpPr>
        <p:spPr>
          <a:xfrm>
            <a:off x="3770085" y="3388712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5C3BB5C5-3E72-486D-BD22-BD3D717C46CD}"/>
              </a:ext>
            </a:extLst>
          </p:cNvPr>
          <p:cNvSpPr/>
          <p:nvPr/>
        </p:nvSpPr>
        <p:spPr>
          <a:xfrm>
            <a:off x="4413251" y="2476045"/>
            <a:ext cx="822780" cy="822780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68" name="Rectangle: Top Corners Rounded 67">
            <a:extLst>
              <a:ext uri="{FF2B5EF4-FFF2-40B4-BE49-F238E27FC236}">
                <a16:creationId xmlns:a16="http://schemas.microsoft.com/office/drawing/2014/main" id="{0D85C21C-2390-45F2-9177-A06700566D38}"/>
              </a:ext>
            </a:extLst>
          </p:cNvPr>
          <p:cNvSpPr/>
          <p:nvPr/>
        </p:nvSpPr>
        <p:spPr>
          <a:xfrm>
            <a:off x="968376" y="1438275"/>
            <a:ext cx="4514850" cy="984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84A8C99B-B8E2-4493-9548-F990A45B775F}"/>
              </a:ext>
            </a:extLst>
          </p:cNvPr>
          <p:cNvSpPr/>
          <p:nvPr/>
        </p:nvSpPr>
        <p:spPr>
          <a:xfrm>
            <a:off x="6708775" y="1438275"/>
            <a:ext cx="4514850" cy="9842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18880C7-EB40-44E0-8E8F-4C9309F5F632}"/>
              </a:ext>
            </a:extLst>
          </p:cNvPr>
          <p:cNvSpPr/>
          <p:nvPr/>
        </p:nvSpPr>
        <p:spPr>
          <a:xfrm>
            <a:off x="469276" y="1536700"/>
            <a:ext cx="11253448" cy="3651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BBE90C5-C25D-4B9C-A9A1-57BB02853EC6}"/>
              </a:ext>
            </a:extLst>
          </p:cNvPr>
          <p:cNvGrpSpPr/>
          <p:nvPr/>
        </p:nvGrpSpPr>
        <p:grpSpPr>
          <a:xfrm>
            <a:off x="-1" y="-1"/>
            <a:ext cx="12192001" cy="6858001"/>
            <a:chOff x="0" y="0"/>
            <a:chExt cx="12192001" cy="6858001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576DBC4C-9AD8-450C-8066-EC09A801CD69}"/>
                </a:ext>
              </a:extLst>
            </p:cNvPr>
            <p:cNvSpPr/>
            <p:nvPr/>
          </p:nvSpPr>
          <p:spPr>
            <a:xfrm>
              <a:off x="333829" y="337457"/>
              <a:ext cx="11524342" cy="6183086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1AC9EDE-E11E-41D3-AFCF-1AE2BF3C9C7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722725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0EF917ED-95A1-43A0-9815-B1227C63A8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0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E85DA5D-AAFD-4D08-8AA5-89FA1307FAA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722725" y="0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215F2721-A60F-435C-9521-FC9C5233433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0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2E42C2D4-2319-4124-B35C-620BDC9D3D9B}"/>
              </a:ext>
            </a:extLst>
          </p:cNvPr>
          <p:cNvSpPr txBox="1"/>
          <p:nvPr/>
        </p:nvSpPr>
        <p:spPr>
          <a:xfrm>
            <a:off x="0" y="443109"/>
            <a:ext cx="12192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ELO Application Process:</a:t>
            </a:r>
          </a:p>
          <a:p>
            <a:pPr algn="ctr"/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What Does the Application Process Include? </a:t>
            </a:r>
          </a:p>
        </p:txBody>
      </p:sp>
      <p:sp>
        <p:nvSpPr>
          <p:cNvPr id="64" name="Slide Number Placeholder 63">
            <a:extLst>
              <a:ext uri="{FF2B5EF4-FFF2-40B4-BE49-F238E27FC236}">
                <a16:creationId xmlns:a16="http://schemas.microsoft.com/office/drawing/2014/main" id="{25886065-57E9-4A13-980D-FB51F031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875"/>
            <a:ext cx="2743200" cy="365125"/>
          </a:xfrm>
        </p:spPr>
        <p:txBody>
          <a:bodyPr/>
          <a:lstStyle/>
          <a:p>
            <a:fld id="{358A3C94-99AD-4370-9394-C6F447157082}" type="slidenum">
              <a:rPr lang="en-US" smtClean="0">
                <a:latin typeface="Montserrat" pitchFamily="2" charset="0"/>
              </a:rPr>
              <a:t>7</a:t>
            </a:fld>
            <a:endParaRPr lang="en-US" dirty="0">
              <a:latin typeface="Montserrat" pitchFamily="2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59959A9-7089-4810-944F-2B841F6DD486}"/>
              </a:ext>
            </a:extLst>
          </p:cNvPr>
          <p:cNvSpPr/>
          <p:nvPr/>
        </p:nvSpPr>
        <p:spPr>
          <a:xfrm>
            <a:off x="1033463" y="1421532"/>
            <a:ext cx="4384676" cy="561975"/>
          </a:xfrm>
          <a:prstGeom prst="rect">
            <a:avLst/>
          </a:prstGeom>
          <a:solidFill>
            <a:srgbClr val="5FB9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Montserrat" pitchFamily="2" charset="0"/>
              </a:rPr>
              <a:t>Participants Demographic &amp; </a:t>
            </a:r>
          </a:p>
          <a:p>
            <a:pPr algn="ctr"/>
            <a:r>
              <a:rPr lang="en-US" dirty="0">
                <a:latin typeface="Montserrat" pitchFamily="2" charset="0"/>
              </a:rPr>
              <a:t>Background Information 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D99649C-086F-4537-8C72-A29547D194D9}"/>
              </a:ext>
            </a:extLst>
          </p:cNvPr>
          <p:cNvSpPr/>
          <p:nvPr/>
        </p:nvSpPr>
        <p:spPr>
          <a:xfrm>
            <a:off x="6773862" y="1438275"/>
            <a:ext cx="4384676" cy="561975"/>
          </a:xfrm>
          <a:prstGeom prst="rect">
            <a:avLst/>
          </a:prstGeom>
          <a:solidFill>
            <a:srgbClr val="FF45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Montserrat" pitchFamily="2" charset="0"/>
              </a:rPr>
              <a:t>ELO Design Detail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37A1D01-2D41-4354-8B59-E03990FCFB3C}"/>
              </a:ext>
            </a:extLst>
          </p:cNvPr>
          <p:cNvSpPr/>
          <p:nvPr/>
        </p:nvSpPr>
        <p:spPr>
          <a:xfrm>
            <a:off x="4181475" y="2345871"/>
            <a:ext cx="3829050" cy="3829050"/>
          </a:xfrm>
          <a:prstGeom prst="ellipse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02DAC910-A0C7-4BEF-927B-B096BB7E759E}"/>
              </a:ext>
            </a:extLst>
          </p:cNvPr>
          <p:cNvSpPr/>
          <p:nvPr/>
        </p:nvSpPr>
        <p:spPr>
          <a:xfrm>
            <a:off x="3890282" y="3511549"/>
            <a:ext cx="582386" cy="582386"/>
          </a:xfrm>
          <a:prstGeom prst="ellipse">
            <a:avLst/>
          </a:prstGeom>
          <a:solidFill>
            <a:srgbClr val="5FB9C5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6D83250-FEF7-47D0-825E-8D8ACAE99529}"/>
              </a:ext>
            </a:extLst>
          </p:cNvPr>
          <p:cNvSpPr/>
          <p:nvPr/>
        </p:nvSpPr>
        <p:spPr>
          <a:xfrm>
            <a:off x="7671857" y="3218557"/>
            <a:ext cx="582386" cy="586221"/>
          </a:xfrm>
          <a:prstGeom prst="ellipse">
            <a:avLst/>
          </a:prstGeom>
          <a:solidFill>
            <a:srgbClr val="FF453A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AC4C531-AE90-4026-B0D7-22E44BD18CFF}"/>
              </a:ext>
            </a:extLst>
          </p:cNvPr>
          <p:cNvSpPr/>
          <p:nvPr/>
        </p:nvSpPr>
        <p:spPr>
          <a:xfrm>
            <a:off x="3890282" y="4426856"/>
            <a:ext cx="582386" cy="582386"/>
          </a:xfrm>
          <a:prstGeom prst="ellipse">
            <a:avLst/>
          </a:prstGeom>
          <a:solidFill>
            <a:srgbClr val="5FB9C5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8D30738-579A-4967-BED8-B041FD59974D}"/>
              </a:ext>
            </a:extLst>
          </p:cNvPr>
          <p:cNvSpPr/>
          <p:nvPr/>
        </p:nvSpPr>
        <p:spPr>
          <a:xfrm>
            <a:off x="7683084" y="4072619"/>
            <a:ext cx="615484" cy="582386"/>
          </a:xfrm>
          <a:prstGeom prst="ellipse">
            <a:avLst/>
          </a:prstGeom>
          <a:solidFill>
            <a:srgbClr val="FF453A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AACDCBC8-DD53-402A-8378-3C5810D772BF}"/>
              </a:ext>
            </a:extLst>
          </p:cNvPr>
          <p:cNvSpPr/>
          <p:nvPr/>
        </p:nvSpPr>
        <p:spPr>
          <a:xfrm>
            <a:off x="4533448" y="2596242"/>
            <a:ext cx="582386" cy="582386"/>
          </a:xfrm>
          <a:prstGeom prst="ellipse">
            <a:avLst/>
          </a:prstGeom>
          <a:solidFill>
            <a:srgbClr val="5FB9C5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954C43C7-1891-472F-A1DB-C02BFF33450D}"/>
              </a:ext>
            </a:extLst>
          </p:cNvPr>
          <p:cNvSpPr/>
          <p:nvPr/>
        </p:nvSpPr>
        <p:spPr>
          <a:xfrm>
            <a:off x="7117377" y="2392707"/>
            <a:ext cx="582386" cy="582386"/>
          </a:xfrm>
          <a:prstGeom prst="ellipse">
            <a:avLst/>
          </a:prstGeom>
          <a:solidFill>
            <a:srgbClr val="FF453A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5CEF9737-12D7-4AD5-B110-2F5BD73D8990}"/>
              </a:ext>
            </a:extLst>
          </p:cNvPr>
          <p:cNvSpPr/>
          <p:nvPr/>
        </p:nvSpPr>
        <p:spPr>
          <a:xfrm>
            <a:off x="4533448" y="5342164"/>
            <a:ext cx="582386" cy="582386"/>
          </a:xfrm>
          <a:prstGeom prst="ellipse">
            <a:avLst/>
          </a:prstGeom>
          <a:solidFill>
            <a:srgbClr val="5FB9C5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E3703C8-CA7E-4903-9263-F18ACF46C135}"/>
              </a:ext>
            </a:extLst>
          </p:cNvPr>
          <p:cNvSpPr/>
          <p:nvPr/>
        </p:nvSpPr>
        <p:spPr>
          <a:xfrm>
            <a:off x="7554696" y="4866511"/>
            <a:ext cx="542242" cy="510644"/>
          </a:xfrm>
          <a:prstGeom prst="ellipse">
            <a:avLst/>
          </a:prstGeom>
          <a:solidFill>
            <a:srgbClr val="FF453A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69" name="Freeform 1675">
            <a:extLst>
              <a:ext uri="{FF2B5EF4-FFF2-40B4-BE49-F238E27FC236}">
                <a16:creationId xmlns:a16="http://schemas.microsoft.com/office/drawing/2014/main" id="{B0C1D16D-FFF6-4671-B2D0-5461FA31D2E3}"/>
              </a:ext>
            </a:extLst>
          </p:cNvPr>
          <p:cNvSpPr>
            <a:spLocks/>
          </p:cNvSpPr>
          <p:nvPr/>
        </p:nvSpPr>
        <p:spPr bwMode="auto">
          <a:xfrm>
            <a:off x="4686167" y="2769732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70" name="Freeform 1675">
            <a:extLst>
              <a:ext uri="{FF2B5EF4-FFF2-40B4-BE49-F238E27FC236}">
                <a16:creationId xmlns:a16="http://schemas.microsoft.com/office/drawing/2014/main" id="{CEF275CC-0E80-4CE9-867D-8830D40B9226}"/>
              </a:ext>
            </a:extLst>
          </p:cNvPr>
          <p:cNvSpPr>
            <a:spLocks/>
          </p:cNvSpPr>
          <p:nvPr/>
        </p:nvSpPr>
        <p:spPr bwMode="auto">
          <a:xfrm>
            <a:off x="7277746" y="2618240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71" name="Freeform 1675">
            <a:extLst>
              <a:ext uri="{FF2B5EF4-FFF2-40B4-BE49-F238E27FC236}">
                <a16:creationId xmlns:a16="http://schemas.microsoft.com/office/drawing/2014/main" id="{C933CD35-ECE8-4376-93FF-FA924EFBD993}"/>
              </a:ext>
            </a:extLst>
          </p:cNvPr>
          <p:cNvSpPr>
            <a:spLocks/>
          </p:cNvSpPr>
          <p:nvPr/>
        </p:nvSpPr>
        <p:spPr bwMode="auto">
          <a:xfrm>
            <a:off x="4686167" y="5515654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72" name="Freeform 1675">
            <a:extLst>
              <a:ext uri="{FF2B5EF4-FFF2-40B4-BE49-F238E27FC236}">
                <a16:creationId xmlns:a16="http://schemas.microsoft.com/office/drawing/2014/main" id="{9A535819-1C32-416C-AB1F-A17055BBDE4E}"/>
              </a:ext>
            </a:extLst>
          </p:cNvPr>
          <p:cNvSpPr>
            <a:spLocks/>
          </p:cNvSpPr>
          <p:nvPr/>
        </p:nvSpPr>
        <p:spPr bwMode="auto">
          <a:xfrm>
            <a:off x="7666927" y="5008357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74" name="Freeform 1675">
            <a:extLst>
              <a:ext uri="{FF2B5EF4-FFF2-40B4-BE49-F238E27FC236}">
                <a16:creationId xmlns:a16="http://schemas.microsoft.com/office/drawing/2014/main" id="{B8D649AD-E83C-42A6-A04B-68A40523C8F6}"/>
              </a:ext>
            </a:extLst>
          </p:cNvPr>
          <p:cNvSpPr>
            <a:spLocks/>
          </p:cNvSpPr>
          <p:nvPr/>
        </p:nvSpPr>
        <p:spPr bwMode="auto">
          <a:xfrm>
            <a:off x="4043000" y="4600346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75" name="Freeform 1675">
            <a:extLst>
              <a:ext uri="{FF2B5EF4-FFF2-40B4-BE49-F238E27FC236}">
                <a16:creationId xmlns:a16="http://schemas.microsoft.com/office/drawing/2014/main" id="{14085482-209F-4FAD-9EB6-CD20F5484E57}"/>
              </a:ext>
            </a:extLst>
          </p:cNvPr>
          <p:cNvSpPr>
            <a:spLocks/>
          </p:cNvSpPr>
          <p:nvPr/>
        </p:nvSpPr>
        <p:spPr bwMode="auto">
          <a:xfrm>
            <a:off x="7872050" y="4268741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79" name="Freeform 1675">
            <a:extLst>
              <a:ext uri="{FF2B5EF4-FFF2-40B4-BE49-F238E27FC236}">
                <a16:creationId xmlns:a16="http://schemas.microsoft.com/office/drawing/2014/main" id="{92409E74-500D-437B-A07D-A9D471F80838}"/>
              </a:ext>
            </a:extLst>
          </p:cNvPr>
          <p:cNvSpPr>
            <a:spLocks/>
          </p:cNvSpPr>
          <p:nvPr/>
        </p:nvSpPr>
        <p:spPr bwMode="auto">
          <a:xfrm>
            <a:off x="4043000" y="3685039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80" name="Freeform 1675">
            <a:extLst>
              <a:ext uri="{FF2B5EF4-FFF2-40B4-BE49-F238E27FC236}">
                <a16:creationId xmlns:a16="http://schemas.microsoft.com/office/drawing/2014/main" id="{7960689A-4C5B-430D-A0A8-638E345CF578}"/>
              </a:ext>
            </a:extLst>
          </p:cNvPr>
          <p:cNvSpPr>
            <a:spLocks/>
          </p:cNvSpPr>
          <p:nvPr/>
        </p:nvSpPr>
        <p:spPr bwMode="auto">
          <a:xfrm rot="300285">
            <a:off x="7862350" y="3434966"/>
            <a:ext cx="255225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CFB275C-D847-4540-9E59-A238222D132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16804" y="2465994"/>
            <a:ext cx="3676331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District, School, and Student Names, Contacts, and Other General Information 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6484801-8D2B-4A81-B21C-021402E4069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16804" y="5464080"/>
            <a:ext cx="3676331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Any Additional Information 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F5DF2775-EF9F-45E0-8871-D568BEFE0F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935802" y="2394996"/>
            <a:ext cx="3676331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Experience Type &amp; Student Activities 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893CD47-2FC0-4EE1-AF48-C0F283CEF20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386800" y="4998271"/>
            <a:ext cx="3676331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Agreement Quality Measurement Tool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E20BC7C-450B-4C5C-BB26-CB433E3619B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455831" y="3199376"/>
            <a:ext cx="3000564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Time, Dates, &amp; Completion Schedul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BB216AA6-1EB8-43D8-BF71-30CA15FA055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503529" y="3897898"/>
            <a:ext cx="3088420" cy="107721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Design Components, Learning Targets, Performance Outcomes, &amp; Skills Attainment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6011631-B998-4204-A69C-ABFC931A6F8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33064" y="3507714"/>
            <a:ext cx="3000564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Academic Student Information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72FFEF9-629F-46B2-84AE-C3F2458A510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33064" y="4425662"/>
            <a:ext cx="3000564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Assigning Elective Credit for Approved ELO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3424BE9-692B-4E36-BC22-ED00297763ED}"/>
              </a:ext>
            </a:extLst>
          </p:cNvPr>
          <p:cNvGrpSpPr/>
          <p:nvPr/>
        </p:nvGrpSpPr>
        <p:grpSpPr>
          <a:xfrm>
            <a:off x="4985900" y="4072619"/>
            <a:ext cx="2266516" cy="1335768"/>
            <a:chOff x="501651" y="2093913"/>
            <a:chExt cx="5454649" cy="3214688"/>
          </a:xfrm>
          <a:solidFill>
            <a:schemeClr val="bg2">
              <a:lumMod val="90000"/>
            </a:schemeClr>
          </a:solidFill>
        </p:grpSpPr>
        <p:sp>
          <p:nvSpPr>
            <p:cNvPr id="100" name="Freeform 6">
              <a:extLst>
                <a:ext uri="{FF2B5EF4-FFF2-40B4-BE49-F238E27FC236}">
                  <a16:creationId xmlns:a16="http://schemas.microsoft.com/office/drawing/2014/main" id="{7D2EA86A-0058-471F-9A51-516AE0A866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651" y="2093913"/>
              <a:ext cx="1336675" cy="3214688"/>
            </a:xfrm>
            <a:custGeom>
              <a:avLst/>
              <a:gdLst>
                <a:gd name="T0" fmla="*/ 631 w 716"/>
                <a:gd name="T1" fmla="*/ 1609 h 1723"/>
                <a:gd name="T2" fmla="*/ 568 w 716"/>
                <a:gd name="T3" fmla="*/ 1516 h 1723"/>
                <a:gd name="T4" fmla="*/ 569 w 716"/>
                <a:gd name="T5" fmla="*/ 1333 h 1723"/>
                <a:gd name="T6" fmla="*/ 586 w 716"/>
                <a:gd name="T7" fmla="*/ 1213 h 1723"/>
                <a:gd name="T8" fmla="*/ 574 w 716"/>
                <a:gd name="T9" fmla="*/ 1098 h 1723"/>
                <a:gd name="T10" fmla="*/ 557 w 716"/>
                <a:gd name="T11" fmla="*/ 1017 h 1723"/>
                <a:gd name="T12" fmla="*/ 534 w 716"/>
                <a:gd name="T13" fmla="*/ 880 h 1723"/>
                <a:gd name="T14" fmla="*/ 562 w 716"/>
                <a:gd name="T15" fmla="*/ 796 h 1723"/>
                <a:gd name="T16" fmla="*/ 575 w 716"/>
                <a:gd name="T17" fmla="*/ 718 h 1723"/>
                <a:gd name="T18" fmla="*/ 576 w 716"/>
                <a:gd name="T19" fmla="*/ 630 h 1723"/>
                <a:gd name="T20" fmla="*/ 561 w 716"/>
                <a:gd name="T21" fmla="*/ 539 h 1723"/>
                <a:gd name="T22" fmla="*/ 521 w 716"/>
                <a:gd name="T23" fmla="*/ 387 h 1723"/>
                <a:gd name="T24" fmla="*/ 472 w 716"/>
                <a:gd name="T25" fmla="*/ 270 h 1723"/>
                <a:gd name="T26" fmla="*/ 349 w 716"/>
                <a:gd name="T27" fmla="*/ 243 h 1723"/>
                <a:gd name="T28" fmla="*/ 343 w 716"/>
                <a:gd name="T29" fmla="*/ 167 h 1723"/>
                <a:gd name="T30" fmla="*/ 348 w 716"/>
                <a:gd name="T31" fmla="*/ 101 h 1723"/>
                <a:gd name="T32" fmla="*/ 299 w 716"/>
                <a:gd name="T33" fmla="*/ 9 h 1723"/>
                <a:gd name="T34" fmla="*/ 198 w 716"/>
                <a:gd name="T35" fmla="*/ 57 h 1723"/>
                <a:gd name="T36" fmla="*/ 188 w 716"/>
                <a:gd name="T37" fmla="*/ 118 h 1723"/>
                <a:gd name="T38" fmla="*/ 212 w 716"/>
                <a:gd name="T39" fmla="*/ 220 h 1723"/>
                <a:gd name="T40" fmla="*/ 155 w 716"/>
                <a:gd name="T41" fmla="*/ 271 h 1723"/>
                <a:gd name="T42" fmla="*/ 42 w 716"/>
                <a:gd name="T43" fmla="*/ 330 h 1723"/>
                <a:gd name="T44" fmla="*/ 30 w 716"/>
                <a:gd name="T45" fmla="*/ 404 h 1723"/>
                <a:gd name="T46" fmla="*/ 20 w 716"/>
                <a:gd name="T47" fmla="*/ 499 h 1723"/>
                <a:gd name="T48" fmla="*/ 7 w 716"/>
                <a:gd name="T49" fmla="*/ 636 h 1723"/>
                <a:gd name="T50" fmla="*/ 23 w 716"/>
                <a:gd name="T51" fmla="*/ 721 h 1723"/>
                <a:gd name="T52" fmla="*/ 60 w 716"/>
                <a:gd name="T53" fmla="*/ 808 h 1723"/>
                <a:gd name="T54" fmla="*/ 83 w 716"/>
                <a:gd name="T55" fmla="*/ 857 h 1723"/>
                <a:gd name="T56" fmla="*/ 137 w 716"/>
                <a:gd name="T57" fmla="*/ 887 h 1723"/>
                <a:gd name="T58" fmla="*/ 153 w 716"/>
                <a:gd name="T59" fmla="*/ 955 h 1723"/>
                <a:gd name="T60" fmla="*/ 177 w 716"/>
                <a:gd name="T61" fmla="*/ 1127 h 1723"/>
                <a:gd name="T62" fmla="*/ 191 w 716"/>
                <a:gd name="T63" fmla="*/ 1281 h 1723"/>
                <a:gd name="T64" fmla="*/ 201 w 716"/>
                <a:gd name="T65" fmla="*/ 1394 h 1723"/>
                <a:gd name="T66" fmla="*/ 210 w 716"/>
                <a:gd name="T67" fmla="*/ 1495 h 1723"/>
                <a:gd name="T68" fmla="*/ 236 w 716"/>
                <a:gd name="T69" fmla="*/ 1598 h 1723"/>
                <a:gd name="T70" fmla="*/ 230 w 716"/>
                <a:gd name="T71" fmla="*/ 1646 h 1723"/>
                <a:gd name="T72" fmla="*/ 311 w 716"/>
                <a:gd name="T73" fmla="*/ 1696 h 1723"/>
                <a:gd name="T74" fmla="*/ 338 w 716"/>
                <a:gd name="T75" fmla="*/ 1589 h 1723"/>
                <a:gd name="T76" fmla="*/ 338 w 716"/>
                <a:gd name="T77" fmla="*/ 1467 h 1723"/>
                <a:gd name="T78" fmla="*/ 311 w 716"/>
                <a:gd name="T79" fmla="*/ 1326 h 1723"/>
                <a:gd name="T80" fmla="*/ 311 w 716"/>
                <a:gd name="T81" fmla="*/ 1235 h 1723"/>
                <a:gd name="T82" fmla="*/ 318 w 716"/>
                <a:gd name="T83" fmla="*/ 1152 h 1723"/>
                <a:gd name="T84" fmla="*/ 329 w 716"/>
                <a:gd name="T85" fmla="*/ 1037 h 1723"/>
                <a:gd name="T86" fmla="*/ 348 w 716"/>
                <a:gd name="T87" fmla="*/ 1001 h 1723"/>
                <a:gd name="T88" fmla="*/ 418 w 716"/>
                <a:gd name="T89" fmla="*/ 1243 h 1723"/>
                <a:gd name="T90" fmla="*/ 441 w 716"/>
                <a:gd name="T91" fmla="*/ 1366 h 1723"/>
                <a:gd name="T92" fmla="*/ 449 w 716"/>
                <a:gd name="T93" fmla="*/ 1466 h 1723"/>
                <a:gd name="T94" fmla="*/ 430 w 716"/>
                <a:gd name="T95" fmla="*/ 1584 h 1723"/>
                <a:gd name="T96" fmla="*/ 497 w 716"/>
                <a:gd name="T97" fmla="*/ 1653 h 1723"/>
                <a:gd name="T98" fmla="*/ 610 w 716"/>
                <a:gd name="T99" fmla="*/ 1664 h 1723"/>
                <a:gd name="T100" fmla="*/ 694 w 716"/>
                <a:gd name="T101" fmla="*/ 1657 h 1723"/>
                <a:gd name="T102" fmla="*/ 133 w 716"/>
                <a:gd name="T103" fmla="*/ 680 h 1723"/>
                <a:gd name="T104" fmla="*/ 113 w 716"/>
                <a:gd name="T105" fmla="*/ 663 h 1723"/>
                <a:gd name="T106" fmla="*/ 113 w 716"/>
                <a:gd name="T107" fmla="*/ 602 h 1723"/>
                <a:gd name="T108" fmla="*/ 127 w 716"/>
                <a:gd name="T109" fmla="*/ 585 h 1723"/>
                <a:gd name="T110" fmla="*/ 702 w 716"/>
                <a:gd name="T111" fmla="*/ 1652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6" h="1723">
                  <a:moveTo>
                    <a:pt x="706" y="1619"/>
                  </a:moveTo>
                  <a:cubicBezTo>
                    <a:pt x="696" y="1619"/>
                    <a:pt x="687" y="1619"/>
                    <a:pt x="677" y="1619"/>
                  </a:cubicBezTo>
                  <a:cubicBezTo>
                    <a:pt x="665" y="1619"/>
                    <a:pt x="654" y="1617"/>
                    <a:pt x="643" y="1613"/>
                  </a:cubicBezTo>
                  <a:cubicBezTo>
                    <a:pt x="639" y="1611"/>
                    <a:pt x="635" y="1610"/>
                    <a:pt x="631" y="1609"/>
                  </a:cubicBezTo>
                  <a:cubicBezTo>
                    <a:pt x="618" y="1606"/>
                    <a:pt x="606" y="1603"/>
                    <a:pt x="595" y="1594"/>
                  </a:cubicBezTo>
                  <a:cubicBezTo>
                    <a:pt x="595" y="1591"/>
                    <a:pt x="594" y="1587"/>
                    <a:pt x="591" y="1585"/>
                  </a:cubicBezTo>
                  <a:cubicBezTo>
                    <a:pt x="585" y="1580"/>
                    <a:pt x="582" y="1574"/>
                    <a:pt x="580" y="1566"/>
                  </a:cubicBezTo>
                  <a:cubicBezTo>
                    <a:pt x="577" y="1549"/>
                    <a:pt x="572" y="1533"/>
                    <a:pt x="568" y="1516"/>
                  </a:cubicBezTo>
                  <a:cubicBezTo>
                    <a:pt x="566" y="1510"/>
                    <a:pt x="564" y="1503"/>
                    <a:pt x="564" y="1497"/>
                  </a:cubicBezTo>
                  <a:cubicBezTo>
                    <a:pt x="563" y="1474"/>
                    <a:pt x="564" y="1450"/>
                    <a:pt x="562" y="1427"/>
                  </a:cubicBezTo>
                  <a:cubicBezTo>
                    <a:pt x="561" y="1409"/>
                    <a:pt x="563" y="1391"/>
                    <a:pt x="565" y="1373"/>
                  </a:cubicBezTo>
                  <a:cubicBezTo>
                    <a:pt x="567" y="1360"/>
                    <a:pt x="568" y="1347"/>
                    <a:pt x="569" y="1333"/>
                  </a:cubicBezTo>
                  <a:cubicBezTo>
                    <a:pt x="569" y="1322"/>
                    <a:pt x="568" y="1310"/>
                    <a:pt x="570" y="1299"/>
                  </a:cubicBezTo>
                  <a:cubicBezTo>
                    <a:pt x="572" y="1289"/>
                    <a:pt x="573" y="1280"/>
                    <a:pt x="574" y="1270"/>
                  </a:cubicBezTo>
                  <a:cubicBezTo>
                    <a:pt x="576" y="1260"/>
                    <a:pt x="578" y="1251"/>
                    <a:pt x="580" y="1241"/>
                  </a:cubicBezTo>
                  <a:cubicBezTo>
                    <a:pt x="582" y="1232"/>
                    <a:pt x="582" y="1222"/>
                    <a:pt x="586" y="1213"/>
                  </a:cubicBezTo>
                  <a:cubicBezTo>
                    <a:pt x="590" y="1202"/>
                    <a:pt x="590" y="1191"/>
                    <a:pt x="591" y="1181"/>
                  </a:cubicBezTo>
                  <a:cubicBezTo>
                    <a:pt x="593" y="1167"/>
                    <a:pt x="589" y="1154"/>
                    <a:pt x="585" y="1142"/>
                  </a:cubicBezTo>
                  <a:cubicBezTo>
                    <a:pt x="585" y="1139"/>
                    <a:pt x="584" y="1136"/>
                    <a:pt x="583" y="1133"/>
                  </a:cubicBezTo>
                  <a:cubicBezTo>
                    <a:pt x="581" y="1121"/>
                    <a:pt x="579" y="1109"/>
                    <a:pt x="574" y="1098"/>
                  </a:cubicBezTo>
                  <a:cubicBezTo>
                    <a:pt x="571" y="1092"/>
                    <a:pt x="570" y="1085"/>
                    <a:pt x="569" y="1079"/>
                  </a:cubicBezTo>
                  <a:cubicBezTo>
                    <a:pt x="566" y="1068"/>
                    <a:pt x="565" y="1057"/>
                    <a:pt x="560" y="1047"/>
                  </a:cubicBezTo>
                  <a:cubicBezTo>
                    <a:pt x="557" y="1042"/>
                    <a:pt x="555" y="1036"/>
                    <a:pt x="557" y="1029"/>
                  </a:cubicBezTo>
                  <a:cubicBezTo>
                    <a:pt x="558" y="1026"/>
                    <a:pt x="558" y="1021"/>
                    <a:pt x="557" y="1017"/>
                  </a:cubicBezTo>
                  <a:cubicBezTo>
                    <a:pt x="555" y="1007"/>
                    <a:pt x="553" y="998"/>
                    <a:pt x="551" y="988"/>
                  </a:cubicBezTo>
                  <a:cubicBezTo>
                    <a:pt x="550" y="984"/>
                    <a:pt x="550" y="980"/>
                    <a:pt x="551" y="977"/>
                  </a:cubicBezTo>
                  <a:cubicBezTo>
                    <a:pt x="554" y="964"/>
                    <a:pt x="552" y="952"/>
                    <a:pt x="545" y="943"/>
                  </a:cubicBezTo>
                  <a:cubicBezTo>
                    <a:pt x="541" y="922"/>
                    <a:pt x="538" y="902"/>
                    <a:pt x="534" y="880"/>
                  </a:cubicBezTo>
                  <a:cubicBezTo>
                    <a:pt x="536" y="876"/>
                    <a:pt x="539" y="871"/>
                    <a:pt x="542" y="866"/>
                  </a:cubicBezTo>
                  <a:cubicBezTo>
                    <a:pt x="547" y="855"/>
                    <a:pt x="554" y="845"/>
                    <a:pt x="556" y="832"/>
                  </a:cubicBezTo>
                  <a:cubicBezTo>
                    <a:pt x="557" y="827"/>
                    <a:pt x="558" y="822"/>
                    <a:pt x="559" y="817"/>
                  </a:cubicBezTo>
                  <a:cubicBezTo>
                    <a:pt x="561" y="810"/>
                    <a:pt x="562" y="803"/>
                    <a:pt x="562" y="796"/>
                  </a:cubicBezTo>
                  <a:cubicBezTo>
                    <a:pt x="562" y="793"/>
                    <a:pt x="563" y="790"/>
                    <a:pt x="563" y="788"/>
                  </a:cubicBezTo>
                  <a:cubicBezTo>
                    <a:pt x="568" y="776"/>
                    <a:pt x="569" y="763"/>
                    <a:pt x="564" y="751"/>
                  </a:cubicBezTo>
                  <a:cubicBezTo>
                    <a:pt x="561" y="744"/>
                    <a:pt x="562" y="738"/>
                    <a:pt x="568" y="733"/>
                  </a:cubicBezTo>
                  <a:cubicBezTo>
                    <a:pt x="572" y="729"/>
                    <a:pt x="575" y="724"/>
                    <a:pt x="575" y="718"/>
                  </a:cubicBezTo>
                  <a:cubicBezTo>
                    <a:pt x="576" y="710"/>
                    <a:pt x="577" y="703"/>
                    <a:pt x="579" y="695"/>
                  </a:cubicBezTo>
                  <a:cubicBezTo>
                    <a:pt x="579" y="692"/>
                    <a:pt x="580" y="688"/>
                    <a:pt x="580" y="685"/>
                  </a:cubicBezTo>
                  <a:cubicBezTo>
                    <a:pt x="580" y="678"/>
                    <a:pt x="579" y="670"/>
                    <a:pt x="578" y="663"/>
                  </a:cubicBezTo>
                  <a:cubicBezTo>
                    <a:pt x="578" y="652"/>
                    <a:pt x="577" y="641"/>
                    <a:pt x="576" y="630"/>
                  </a:cubicBezTo>
                  <a:cubicBezTo>
                    <a:pt x="575" y="628"/>
                    <a:pt x="576" y="625"/>
                    <a:pt x="576" y="623"/>
                  </a:cubicBezTo>
                  <a:cubicBezTo>
                    <a:pt x="578" y="611"/>
                    <a:pt x="581" y="599"/>
                    <a:pt x="580" y="586"/>
                  </a:cubicBezTo>
                  <a:cubicBezTo>
                    <a:pt x="580" y="580"/>
                    <a:pt x="579" y="574"/>
                    <a:pt x="576" y="569"/>
                  </a:cubicBezTo>
                  <a:cubicBezTo>
                    <a:pt x="571" y="559"/>
                    <a:pt x="566" y="549"/>
                    <a:pt x="561" y="539"/>
                  </a:cubicBezTo>
                  <a:cubicBezTo>
                    <a:pt x="559" y="535"/>
                    <a:pt x="557" y="531"/>
                    <a:pt x="556" y="526"/>
                  </a:cubicBezTo>
                  <a:cubicBezTo>
                    <a:pt x="554" y="516"/>
                    <a:pt x="553" y="505"/>
                    <a:pt x="551" y="494"/>
                  </a:cubicBezTo>
                  <a:cubicBezTo>
                    <a:pt x="547" y="478"/>
                    <a:pt x="544" y="461"/>
                    <a:pt x="539" y="446"/>
                  </a:cubicBezTo>
                  <a:cubicBezTo>
                    <a:pt x="534" y="426"/>
                    <a:pt x="527" y="406"/>
                    <a:pt x="521" y="387"/>
                  </a:cubicBezTo>
                  <a:cubicBezTo>
                    <a:pt x="515" y="367"/>
                    <a:pt x="509" y="347"/>
                    <a:pt x="504" y="327"/>
                  </a:cubicBezTo>
                  <a:cubicBezTo>
                    <a:pt x="500" y="311"/>
                    <a:pt x="494" y="296"/>
                    <a:pt x="487" y="280"/>
                  </a:cubicBezTo>
                  <a:cubicBezTo>
                    <a:pt x="485" y="278"/>
                    <a:pt x="483" y="275"/>
                    <a:pt x="481" y="273"/>
                  </a:cubicBezTo>
                  <a:cubicBezTo>
                    <a:pt x="479" y="270"/>
                    <a:pt x="475" y="268"/>
                    <a:pt x="472" y="270"/>
                  </a:cubicBezTo>
                  <a:cubicBezTo>
                    <a:pt x="468" y="272"/>
                    <a:pt x="465" y="270"/>
                    <a:pt x="461" y="269"/>
                  </a:cubicBezTo>
                  <a:cubicBezTo>
                    <a:pt x="458" y="267"/>
                    <a:pt x="454" y="266"/>
                    <a:pt x="451" y="264"/>
                  </a:cubicBezTo>
                  <a:cubicBezTo>
                    <a:pt x="434" y="259"/>
                    <a:pt x="417" y="255"/>
                    <a:pt x="400" y="253"/>
                  </a:cubicBezTo>
                  <a:cubicBezTo>
                    <a:pt x="383" y="250"/>
                    <a:pt x="366" y="247"/>
                    <a:pt x="349" y="243"/>
                  </a:cubicBezTo>
                  <a:cubicBezTo>
                    <a:pt x="345" y="242"/>
                    <a:pt x="341" y="239"/>
                    <a:pt x="338" y="236"/>
                  </a:cubicBezTo>
                  <a:cubicBezTo>
                    <a:pt x="334" y="233"/>
                    <a:pt x="332" y="229"/>
                    <a:pt x="329" y="226"/>
                  </a:cubicBezTo>
                  <a:cubicBezTo>
                    <a:pt x="328" y="211"/>
                    <a:pt x="329" y="202"/>
                    <a:pt x="340" y="168"/>
                  </a:cubicBezTo>
                  <a:cubicBezTo>
                    <a:pt x="341" y="168"/>
                    <a:pt x="342" y="167"/>
                    <a:pt x="343" y="167"/>
                  </a:cubicBezTo>
                  <a:cubicBezTo>
                    <a:pt x="349" y="164"/>
                    <a:pt x="350" y="162"/>
                    <a:pt x="349" y="155"/>
                  </a:cubicBezTo>
                  <a:cubicBezTo>
                    <a:pt x="349" y="154"/>
                    <a:pt x="349" y="152"/>
                    <a:pt x="350" y="151"/>
                  </a:cubicBezTo>
                  <a:cubicBezTo>
                    <a:pt x="350" y="147"/>
                    <a:pt x="351" y="142"/>
                    <a:pt x="351" y="138"/>
                  </a:cubicBezTo>
                  <a:cubicBezTo>
                    <a:pt x="351" y="126"/>
                    <a:pt x="350" y="113"/>
                    <a:pt x="348" y="101"/>
                  </a:cubicBezTo>
                  <a:cubicBezTo>
                    <a:pt x="347" y="91"/>
                    <a:pt x="346" y="80"/>
                    <a:pt x="344" y="70"/>
                  </a:cubicBezTo>
                  <a:cubicBezTo>
                    <a:pt x="342" y="58"/>
                    <a:pt x="337" y="47"/>
                    <a:pt x="332" y="36"/>
                  </a:cubicBezTo>
                  <a:cubicBezTo>
                    <a:pt x="329" y="30"/>
                    <a:pt x="324" y="25"/>
                    <a:pt x="319" y="21"/>
                  </a:cubicBezTo>
                  <a:cubicBezTo>
                    <a:pt x="313" y="17"/>
                    <a:pt x="306" y="13"/>
                    <a:pt x="299" y="9"/>
                  </a:cubicBezTo>
                  <a:cubicBezTo>
                    <a:pt x="291" y="5"/>
                    <a:pt x="283" y="0"/>
                    <a:pt x="273" y="3"/>
                  </a:cubicBezTo>
                  <a:cubicBezTo>
                    <a:pt x="260" y="1"/>
                    <a:pt x="249" y="7"/>
                    <a:pt x="239" y="13"/>
                  </a:cubicBezTo>
                  <a:cubicBezTo>
                    <a:pt x="229" y="19"/>
                    <a:pt x="219" y="25"/>
                    <a:pt x="210" y="34"/>
                  </a:cubicBezTo>
                  <a:cubicBezTo>
                    <a:pt x="204" y="41"/>
                    <a:pt x="199" y="48"/>
                    <a:pt x="198" y="57"/>
                  </a:cubicBezTo>
                  <a:cubicBezTo>
                    <a:pt x="197" y="64"/>
                    <a:pt x="196" y="71"/>
                    <a:pt x="194" y="78"/>
                  </a:cubicBezTo>
                  <a:cubicBezTo>
                    <a:pt x="192" y="88"/>
                    <a:pt x="192" y="98"/>
                    <a:pt x="195" y="108"/>
                  </a:cubicBezTo>
                  <a:cubicBezTo>
                    <a:pt x="193" y="109"/>
                    <a:pt x="191" y="109"/>
                    <a:pt x="189" y="109"/>
                  </a:cubicBezTo>
                  <a:cubicBezTo>
                    <a:pt x="189" y="112"/>
                    <a:pt x="188" y="115"/>
                    <a:pt x="188" y="118"/>
                  </a:cubicBezTo>
                  <a:cubicBezTo>
                    <a:pt x="189" y="125"/>
                    <a:pt x="190" y="133"/>
                    <a:pt x="190" y="140"/>
                  </a:cubicBezTo>
                  <a:cubicBezTo>
                    <a:pt x="189" y="151"/>
                    <a:pt x="195" y="160"/>
                    <a:pt x="200" y="168"/>
                  </a:cubicBezTo>
                  <a:cubicBezTo>
                    <a:pt x="203" y="168"/>
                    <a:pt x="205" y="168"/>
                    <a:pt x="207" y="168"/>
                  </a:cubicBezTo>
                  <a:cubicBezTo>
                    <a:pt x="212" y="185"/>
                    <a:pt x="214" y="202"/>
                    <a:pt x="212" y="220"/>
                  </a:cubicBezTo>
                  <a:cubicBezTo>
                    <a:pt x="209" y="223"/>
                    <a:pt x="205" y="227"/>
                    <a:pt x="202" y="230"/>
                  </a:cubicBezTo>
                  <a:cubicBezTo>
                    <a:pt x="200" y="234"/>
                    <a:pt x="198" y="238"/>
                    <a:pt x="197" y="242"/>
                  </a:cubicBezTo>
                  <a:cubicBezTo>
                    <a:pt x="194" y="251"/>
                    <a:pt x="188" y="257"/>
                    <a:pt x="179" y="261"/>
                  </a:cubicBezTo>
                  <a:cubicBezTo>
                    <a:pt x="171" y="264"/>
                    <a:pt x="163" y="268"/>
                    <a:pt x="155" y="271"/>
                  </a:cubicBezTo>
                  <a:cubicBezTo>
                    <a:pt x="139" y="278"/>
                    <a:pt x="122" y="286"/>
                    <a:pt x="106" y="292"/>
                  </a:cubicBezTo>
                  <a:cubicBezTo>
                    <a:pt x="90" y="298"/>
                    <a:pt x="75" y="306"/>
                    <a:pt x="61" y="317"/>
                  </a:cubicBezTo>
                  <a:cubicBezTo>
                    <a:pt x="60" y="317"/>
                    <a:pt x="59" y="317"/>
                    <a:pt x="58" y="317"/>
                  </a:cubicBezTo>
                  <a:cubicBezTo>
                    <a:pt x="49" y="317"/>
                    <a:pt x="45" y="321"/>
                    <a:pt x="42" y="330"/>
                  </a:cubicBezTo>
                  <a:cubicBezTo>
                    <a:pt x="39" y="342"/>
                    <a:pt x="38" y="354"/>
                    <a:pt x="37" y="366"/>
                  </a:cubicBezTo>
                  <a:cubicBezTo>
                    <a:pt x="36" y="369"/>
                    <a:pt x="37" y="372"/>
                    <a:pt x="37" y="374"/>
                  </a:cubicBezTo>
                  <a:cubicBezTo>
                    <a:pt x="37" y="378"/>
                    <a:pt x="38" y="382"/>
                    <a:pt x="37" y="386"/>
                  </a:cubicBezTo>
                  <a:cubicBezTo>
                    <a:pt x="35" y="392"/>
                    <a:pt x="32" y="398"/>
                    <a:pt x="30" y="404"/>
                  </a:cubicBezTo>
                  <a:cubicBezTo>
                    <a:pt x="26" y="416"/>
                    <a:pt x="23" y="427"/>
                    <a:pt x="27" y="439"/>
                  </a:cubicBezTo>
                  <a:cubicBezTo>
                    <a:pt x="27" y="441"/>
                    <a:pt x="27" y="443"/>
                    <a:pt x="27" y="445"/>
                  </a:cubicBezTo>
                  <a:cubicBezTo>
                    <a:pt x="25" y="458"/>
                    <a:pt x="23" y="471"/>
                    <a:pt x="22" y="483"/>
                  </a:cubicBezTo>
                  <a:cubicBezTo>
                    <a:pt x="21" y="488"/>
                    <a:pt x="20" y="494"/>
                    <a:pt x="20" y="499"/>
                  </a:cubicBezTo>
                  <a:cubicBezTo>
                    <a:pt x="17" y="517"/>
                    <a:pt x="14" y="534"/>
                    <a:pt x="12" y="552"/>
                  </a:cubicBezTo>
                  <a:cubicBezTo>
                    <a:pt x="11" y="563"/>
                    <a:pt x="10" y="575"/>
                    <a:pt x="8" y="586"/>
                  </a:cubicBezTo>
                  <a:cubicBezTo>
                    <a:pt x="6" y="599"/>
                    <a:pt x="6" y="611"/>
                    <a:pt x="9" y="624"/>
                  </a:cubicBezTo>
                  <a:cubicBezTo>
                    <a:pt x="11" y="629"/>
                    <a:pt x="10" y="633"/>
                    <a:pt x="7" y="636"/>
                  </a:cubicBezTo>
                  <a:cubicBezTo>
                    <a:pt x="2" y="641"/>
                    <a:pt x="0" y="647"/>
                    <a:pt x="0" y="654"/>
                  </a:cubicBezTo>
                  <a:cubicBezTo>
                    <a:pt x="0" y="660"/>
                    <a:pt x="2" y="665"/>
                    <a:pt x="4" y="670"/>
                  </a:cubicBezTo>
                  <a:cubicBezTo>
                    <a:pt x="6" y="680"/>
                    <a:pt x="9" y="690"/>
                    <a:pt x="11" y="700"/>
                  </a:cubicBezTo>
                  <a:cubicBezTo>
                    <a:pt x="13" y="708"/>
                    <a:pt x="18" y="715"/>
                    <a:pt x="23" y="721"/>
                  </a:cubicBezTo>
                  <a:cubicBezTo>
                    <a:pt x="28" y="726"/>
                    <a:pt x="32" y="731"/>
                    <a:pt x="33" y="738"/>
                  </a:cubicBezTo>
                  <a:cubicBezTo>
                    <a:pt x="35" y="749"/>
                    <a:pt x="39" y="759"/>
                    <a:pt x="44" y="769"/>
                  </a:cubicBezTo>
                  <a:cubicBezTo>
                    <a:pt x="46" y="774"/>
                    <a:pt x="48" y="780"/>
                    <a:pt x="49" y="786"/>
                  </a:cubicBezTo>
                  <a:cubicBezTo>
                    <a:pt x="51" y="795"/>
                    <a:pt x="54" y="802"/>
                    <a:pt x="60" y="808"/>
                  </a:cubicBezTo>
                  <a:cubicBezTo>
                    <a:pt x="67" y="816"/>
                    <a:pt x="74" y="824"/>
                    <a:pt x="73" y="836"/>
                  </a:cubicBezTo>
                  <a:cubicBezTo>
                    <a:pt x="73" y="837"/>
                    <a:pt x="74" y="839"/>
                    <a:pt x="74" y="840"/>
                  </a:cubicBezTo>
                  <a:cubicBezTo>
                    <a:pt x="75" y="842"/>
                    <a:pt x="77" y="844"/>
                    <a:pt x="77" y="845"/>
                  </a:cubicBezTo>
                  <a:cubicBezTo>
                    <a:pt x="77" y="851"/>
                    <a:pt x="80" y="853"/>
                    <a:pt x="83" y="857"/>
                  </a:cubicBezTo>
                  <a:cubicBezTo>
                    <a:pt x="96" y="869"/>
                    <a:pt x="109" y="881"/>
                    <a:pt x="121" y="894"/>
                  </a:cubicBezTo>
                  <a:cubicBezTo>
                    <a:pt x="123" y="895"/>
                    <a:pt x="125" y="896"/>
                    <a:pt x="127" y="898"/>
                  </a:cubicBezTo>
                  <a:cubicBezTo>
                    <a:pt x="129" y="893"/>
                    <a:pt x="131" y="889"/>
                    <a:pt x="132" y="885"/>
                  </a:cubicBezTo>
                  <a:cubicBezTo>
                    <a:pt x="134" y="886"/>
                    <a:pt x="136" y="887"/>
                    <a:pt x="137" y="887"/>
                  </a:cubicBezTo>
                  <a:cubicBezTo>
                    <a:pt x="139" y="886"/>
                    <a:pt x="140" y="885"/>
                    <a:pt x="142" y="884"/>
                  </a:cubicBezTo>
                  <a:cubicBezTo>
                    <a:pt x="143" y="906"/>
                    <a:pt x="143" y="928"/>
                    <a:pt x="142" y="951"/>
                  </a:cubicBezTo>
                  <a:cubicBezTo>
                    <a:pt x="146" y="948"/>
                    <a:pt x="149" y="946"/>
                    <a:pt x="152" y="945"/>
                  </a:cubicBezTo>
                  <a:cubicBezTo>
                    <a:pt x="152" y="949"/>
                    <a:pt x="153" y="952"/>
                    <a:pt x="153" y="955"/>
                  </a:cubicBezTo>
                  <a:cubicBezTo>
                    <a:pt x="155" y="969"/>
                    <a:pt x="156" y="982"/>
                    <a:pt x="157" y="995"/>
                  </a:cubicBezTo>
                  <a:cubicBezTo>
                    <a:pt x="158" y="1009"/>
                    <a:pt x="158" y="1022"/>
                    <a:pt x="159" y="1036"/>
                  </a:cubicBezTo>
                  <a:cubicBezTo>
                    <a:pt x="161" y="1048"/>
                    <a:pt x="163" y="1061"/>
                    <a:pt x="165" y="1074"/>
                  </a:cubicBezTo>
                  <a:cubicBezTo>
                    <a:pt x="168" y="1092"/>
                    <a:pt x="171" y="1110"/>
                    <a:pt x="177" y="1127"/>
                  </a:cubicBezTo>
                  <a:cubicBezTo>
                    <a:pt x="182" y="1139"/>
                    <a:pt x="183" y="1151"/>
                    <a:pt x="183" y="1164"/>
                  </a:cubicBezTo>
                  <a:cubicBezTo>
                    <a:pt x="184" y="1177"/>
                    <a:pt x="184" y="1191"/>
                    <a:pt x="185" y="1204"/>
                  </a:cubicBezTo>
                  <a:cubicBezTo>
                    <a:pt x="186" y="1216"/>
                    <a:pt x="189" y="1227"/>
                    <a:pt x="190" y="1239"/>
                  </a:cubicBezTo>
                  <a:cubicBezTo>
                    <a:pt x="191" y="1253"/>
                    <a:pt x="191" y="1267"/>
                    <a:pt x="191" y="1281"/>
                  </a:cubicBezTo>
                  <a:cubicBezTo>
                    <a:pt x="192" y="1290"/>
                    <a:pt x="192" y="1299"/>
                    <a:pt x="193" y="1307"/>
                  </a:cubicBezTo>
                  <a:cubicBezTo>
                    <a:pt x="194" y="1316"/>
                    <a:pt x="196" y="1326"/>
                    <a:pt x="196" y="1335"/>
                  </a:cubicBezTo>
                  <a:cubicBezTo>
                    <a:pt x="196" y="1350"/>
                    <a:pt x="197" y="1364"/>
                    <a:pt x="199" y="1379"/>
                  </a:cubicBezTo>
                  <a:cubicBezTo>
                    <a:pt x="200" y="1384"/>
                    <a:pt x="201" y="1389"/>
                    <a:pt x="201" y="1394"/>
                  </a:cubicBezTo>
                  <a:cubicBezTo>
                    <a:pt x="202" y="1404"/>
                    <a:pt x="202" y="1414"/>
                    <a:pt x="203" y="1424"/>
                  </a:cubicBezTo>
                  <a:cubicBezTo>
                    <a:pt x="203" y="1431"/>
                    <a:pt x="204" y="1438"/>
                    <a:pt x="205" y="1445"/>
                  </a:cubicBezTo>
                  <a:cubicBezTo>
                    <a:pt x="206" y="1454"/>
                    <a:pt x="207" y="1463"/>
                    <a:pt x="208" y="1472"/>
                  </a:cubicBezTo>
                  <a:cubicBezTo>
                    <a:pt x="208" y="1480"/>
                    <a:pt x="209" y="1488"/>
                    <a:pt x="210" y="1495"/>
                  </a:cubicBezTo>
                  <a:cubicBezTo>
                    <a:pt x="210" y="1501"/>
                    <a:pt x="211" y="1507"/>
                    <a:pt x="211" y="1512"/>
                  </a:cubicBezTo>
                  <a:cubicBezTo>
                    <a:pt x="212" y="1521"/>
                    <a:pt x="214" y="1530"/>
                    <a:pt x="214" y="1539"/>
                  </a:cubicBezTo>
                  <a:cubicBezTo>
                    <a:pt x="214" y="1544"/>
                    <a:pt x="215" y="1549"/>
                    <a:pt x="217" y="1554"/>
                  </a:cubicBezTo>
                  <a:cubicBezTo>
                    <a:pt x="223" y="1569"/>
                    <a:pt x="230" y="1583"/>
                    <a:pt x="236" y="1598"/>
                  </a:cubicBezTo>
                  <a:cubicBezTo>
                    <a:pt x="238" y="1605"/>
                    <a:pt x="241" y="1610"/>
                    <a:pt x="249" y="1612"/>
                  </a:cubicBezTo>
                  <a:cubicBezTo>
                    <a:pt x="249" y="1612"/>
                    <a:pt x="249" y="1613"/>
                    <a:pt x="250" y="1614"/>
                  </a:cubicBezTo>
                  <a:cubicBezTo>
                    <a:pt x="251" y="1615"/>
                    <a:pt x="239" y="1632"/>
                    <a:pt x="238" y="1633"/>
                  </a:cubicBezTo>
                  <a:cubicBezTo>
                    <a:pt x="235" y="1637"/>
                    <a:pt x="232" y="1642"/>
                    <a:pt x="230" y="1646"/>
                  </a:cubicBezTo>
                  <a:cubicBezTo>
                    <a:pt x="226" y="1651"/>
                    <a:pt x="226" y="1656"/>
                    <a:pt x="225" y="1663"/>
                  </a:cubicBezTo>
                  <a:cubicBezTo>
                    <a:pt x="224" y="1667"/>
                    <a:pt x="223" y="1672"/>
                    <a:pt x="223" y="1676"/>
                  </a:cubicBezTo>
                  <a:cubicBezTo>
                    <a:pt x="223" y="1684"/>
                    <a:pt x="225" y="1692"/>
                    <a:pt x="230" y="1698"/>
                  </a:cubicBezTo>
                  <a:cubicBezTo>
                    <a:pt x="249" y="1723"/>
                    <a:pt x="294" y="1721"/>
                    <a:pt x="311" y="1696"/>
                  </a:cubicBezTo>
                  <a:cubicBezTo>
                    <a:pt x="327" y="1674"/>
                    <a:pt x="326" y="1642"/>
                    <a:pt x="326" y="1616"/>
                  </a:cubicBezTo>
                  <a:cubicBezTo>
                    <a:pt x="326" y="1616"/>
                    <a:pt x="326" y="1616"/>
                    <a:pt x="327" y="1616"/>
                  </a:cubicBezTo>
                  <a:cubicBezTo>
                    <a:pt x="326" y="1611"/>
                    <a:pt x="328" y="1607"/>
                    <a:pt x="331" y="1603"/>
                  </a:cubicBezTo>
                  <a:cubicBezTo>
                    <a:pt x="334" y="1598"/>
                    <a:pt x="335" y="1593"/>
                    <a:pt x="338" y="1589"/>
                  </a:cubicBezTo>
                  <a:cubicBezTo>
                    <a:pt x="343" y="1582"/>
                    <a:pt x="346" y="1573"/>
                    <a:pt x="347" y="1564"/>
                  </a:cubicBezTo>
                  <a:cubicBezTo>
                    <a:pt x="348" y="1558"/>
                    <a:pt x="347" y="1551"/>
                    <a:pt x="349" y="1544"/>
                  </a:cubicBezTo>
                  <a:cubicBezTo>
                    <a:pt x="351" y="1533"/>
                    <a:pt x="350" y="1522"/>
                    <a:pt x="348" y="1511"/>
                  </a:cubicBezTo>
                  <a:cubicBezTo>
                    <a:pt x="345" y="1496"/>
                    <a:pt x="341" y="1482"/>
                    <a:pt x="338" y="1467"/>
                  </a:cubicBezTo>
                  <a:cubicBezTo>
                    <a:pt x="332" y="1445"/>
                    <a:pt x="323" y="1423"/>
                    <a:pt x="315" y="1401"/>
                  </a:cubicBezTo>
                  <a:cubicBezTo>
                    <a:pt x="313" y="1398"/>
                    <a:pt x="313" y="1394"/>
                    <a:pt x="313" y="1391"/>
                  </a:cubicBezTo>
                  <a:cubicBezTo>
                    <a:pt x="312" y="1381"/>
                    <a:pt x="314" y="1371"/>
                    <a:pt x="313" y="1360"/>
                  </a:cubicBezTo>
                  <a:cubicBezTo>
                    <a:pt x="311" y="1349"/>
                    <a:pt x="313" y="1337"/>
                    <a:pt x="311" y="1326"/>
                  </a:cubicBezTo>
                  <a:cubicBezTo>
                    <a:pt x="310" y="1316"/>
                    <a:pt x="309" y="1307"/>
                    <a:pt x="307" y="1298"/>
                  </a:cubicBezTo>
                  <a:cubicBezTo>
                    <a:pt x="306" y="1294"/>
                    <a:pt x="306" y="1291"/>
                    <a:pt x="308" y="1287"/>
                  </a:cubicBezTo>
                  <a:cubicBezTo>
                    <a:pt x="310" y="1282"/>
                    <a:pt x="312" y="1277"/>
                    <a:pt x="312" y="1272"/>
                  </a:cubicBezTo>
                  <a:cubicBezTo>
                    <a:pt x="312" y="1259"/>
                    <a:pt x="311" y="1247"/>
                    <a:pt x="311" y="1235"/>
                  </a:cubicBezTo>
                  <a:cubicBezTo>
                    <a:pt x="311" y="1232"/>
                    <a:pt x="311" y="1230"/>
                    <a:pt x="312" y="1227"/>
                  </a:cubicBezTo>
                  <a:cubicBezTo>
                    <a:pt x="315" y="1215"/>
                    <a:pt x="314" y="1201"/>
                    <a:pt x="316" y="1189"/>
                  </a:cubicBezTo>
                  <a:cubicBezTo>
                    <a:pt x="317" y="1177"/>
                    <a:pt x="317" y="1165"/>
                    <a:pt x="317" y="1154"/>
                  </a:cubicBezTo>
                  <a:cubicBezTo>
                    <a:pt x="318" y="1153"/>
                    <a:pt x="318" y="1153"/>
                    <a:pt x="318" y="1152"/>
                  </a:cubicBezTo>
                  <a:cubicBezTo>
                    <a:pt x="319" y="1142"/>
                    <a:pt x="320" y="1132"/>
                    <a:pt x="321" y="1122"/>
                  </a:cubicBezTo>
                  <a:cubicBezTo>
                    <a:pt x="321" y="1107"/>
                    <a:pt x="322" y="1092"/>
                    <a:pt x="322" y="1077"/>
                  </a:cubicBezTo>
                  <a:cubicBezTo>
                    <a:pt x="322" y="1075"/>
                    <a:pt x="323" y="1073"/>
                    <a:pt x="323" y="1071"/>
                  </a:cubicBezTo>
                  <a:cubicBezTo>
                    <a:pt x="326" y="1060"/>
                    <a:pt x="328" y="1049"/>
                    <a:pt x="329" y="1037"/>
                  </a:cubicBezTo>
                  <a:cubicBezTo>
                    <a:pt x="330" y="1024"/>
                    <a:pt x="330" y="1011"/>
                    <a:pt x="335" y="998"/>
                  </a:cubicBezTo>
                  <a:cubicBezTo>
                    <a:pt x="335" y="996"/>
                    <a:pt x="335" y="995"/>
                    <a:pt x="335" y="993"/>
                  </a:cubicBezTo>
                  <a:cubicBezTo>
                    <a:pt x="337" y="988"/>
                    <a:pt x="336" y="983"/>
                    <a:pt x="339" y="978"/>
                  </a:cubicBezTo>
                  <a:cubicBezTo>
                    <a:pt x="342" y="986"/>
                    <a:pt x="345" y="994"/>
                    <a:pt x="348" y="1001"/>
                  </a:cubicBezTo>
                  <a:cubicBezTo>
                    <a:pt x="356" y="1025"/>
                    <a:pt x="364" y="1049"/>
                    <a:pt x="372" y="1073"/>
                  </a:cubicBezTo>
                  <a:cubicBezTo>
                    <a:pt x="384" y="1107"/>
                    <a:pt x="395" y="1142"/>
                    <a:pt x="403" y="1177"/>
                  </a:cubicBezTo>
                  <a:cubicBezTo>
                    <a:pt x="408" y="1197"/>
                    <a:pt x="413" y="1217"/>
                    <a:pt x="418" y="1237"/>
                  </a:cubicBezTo>
                  <a:cubicBezTo>
                    <a:pt x="418" y="1239"/>
                    <a:pt x="419" y="1241"/>
                    <a:pt x="418" y="1243"/>
                  </a:cubicBezTo>
                  <a:cubicBezTo>
                    <a:pt x="415" y="1253"/>
                    <a:pt x="417" y="1263"/>
                    <a:pt x="420" y="1273"/>
                  </a:cubicBezTo>
                  <a:cubicBezTo>
                    <a:pt x="426" y="1294"/>
                    <a:pt x="433" y="1315"/>
                    <a:pt x="440" y="1337"/>
                  </a:cubicBezTo>
                  <a:cubicBezTo>
                    <a:pt x="441" y="1340"/>
                    <a:pt x="441" y="1343"/>
                    <a:pt x="441" y="1346"/>
                  </a:cubicBezTo>
                  <a:cubicBezTo>
                    <a:pt x="439" y="1353"/>
                    <a:pt x="440" y="1360"/>
                    <a:pt x="441" y="1366"/>
                  </a:cubicBezTo>
                  <a:cubicBezTo>
                    <a:pt x="442" y="1377"/>
                    <a:pt x="442" y="1388"/>
                    <a:pt x="443" y="1399"/>
                  </a:cubicBezTo>
                  <a:cubicBezTo>
                    <a:pt x="443" y="1400"/>
                    <a:pt x="443" y="1402"/>
                    <a:pt x="443" y="1403"/>
                  </a:cubicBezTo>
                  <a:cubicBezTo>
                    <a:pt x="444" y="1413"/>
                    <a:pt x="446" y="1422"/>
                    <a:pt x="446" y="1432"/>
                  </a:cubicBezTo>
                  <a:cubicBezTo>
                    <a:pt x="446" y="1443"/>
                    <a:pt x="447" y="1455"/>
                    <a:pt x="449" y="1466"/>
                  </a:cubicBezTo>
                  <a:cubicBezTo>
                    <a:pt x="450" y="1474"/>
                    <a:pt x="450" y="1482"/>
                    <a:pt x="448" y="1489"/>
                  </a:cubicBezTo>
                  <a:cubicBezTo>
                    <a:pt x="445" y="1501"/>
                    <a:pt x="442" y="1513"/>
                    <a:pt x="440" y="1525"/>
                  </a:cubicBezTo>
                  <a:cubicBezTo>
                    <a:pt x="439" y="1536"/>
                    <a:pt x="435" y="1547"/>
                    <a:pt x="433" y="1558"/>
                  </a:cubicBezTo>
                  <a:cubicBezTo>
                    <a:pt x="432" y="1567"/>
                    <a:pt x="430" y="1576"/>
                    <a:pt x="430" y="1584"/>
                  </a:cubicBezTo>
                  <a:cubicBezTo>
                    <a:pt x="429" y="1602"/>
                    <a:pt x="430" y="1619"/>
                    <a:pt x="430" y="1636"/>
                  </a:cubicBezTo>
                  <a:cubicBezTo>
                    <a:pt x="430" y="1638"/>
                    <a:pt x="430" y="1641"/>
                    <a:pt x="430" y="1642"/>
                  </a:cubicBezTo>
                  <a:cubicBezTo>
                    <a:pt x="434" y="1647"/>
                    <a:pt x="439" y="1649"/>
                    <a:pt x="444" y="1649"/>
                  </a:cubicBezTo>
                  <a:cubicBezTo>
                    <a:pt x="462" y="1652"/>
                    <a:pt x="479" y="1653"/>
                    <a:pt x="497" y="1653"/>
                  </a:cubicBezTo>
                  <a:cubicBezTo>
                    <a:pt x="498" y="1653"/>
                    <a:pt x="500" y="1653"/>
                    <a:pt x="501" y="1652"/>
                  </a:cubicBezTo>
                  <a:cubicBezTo>
                    <a:pt x="504" y="1649"/>
                    <a:pt x="509" y="1649"/>
                    <a:pt x="513" y="1649"/>
                  </a:cubicBezTo>
                  <a:cubicBezTo>
                    <a:pt x="530" y="1650"/>
                    <a:pt x="546" y="1652"/>
                    <a:pt x="563" y="1655"/>
                  </a:cubicBezTo>
                  <a:cubicBezTo>
                    <a:pt x="578" y="1659"/>
                    <a:pt x="594" y="1662"/>
                    <a:pt x="610" y="1664"/>
                  </a:cubicBezTo>
                  <a:cubicBezTo>
                    <a:pt x="616" y="1664"/>
                    <a:pt x="623" y="1664"/>
                    <a:pt x="630" y="1664"/>
                  </a:cubicBezTo>
                  <a:cubicBezTo>
                    <a:pt x="636" y="1664"/>
                    <a:pt x="642" y="1663"/>
                    <a:pt x="648" y="1663"/>
                  </a:cubicBezTo>
                  <a:cubicBezTo>
                    <a:pt x="651" y="1663"/>
                    <a:pt x="653" y="1664"/>
                    <a:pt x="655" y="1664"/>
                  </a:cubicBezTo>
                  <a:cubicBezTo>
                    <a:pt x="669" y="1663"/>
                    <a:pt x="682" y="1661"/>
                    <a:pt x="694" y="1657"/>
                  </a:cubicBezTo>
                  <a:cubicBezTo>
                    <a:pt x="697" y="1656"/>
                    <a:pt x="699" y="1655"/>
                    <a:pt x="702" y="1653"/>
                  </a:cubicBezTo>
                  <a:cubicBezTo>
                    <a:pt x="716" y="1644"/>
                    <a:pt x="715" y="1630"/>
                    <a:pt x="709" y="1620"/>
                  </a:cubicBezTo>
                  <a:cubicBezTo>
                    <a:pt x="708" y="1619"/>
                    <a:pt x="707" y="1619"/>
                    <a:pt x="706" y="1619"/>
                  </a:cubicBezTo>
                  <a:close/>
                  <a:moveTo>
                    <a:pt x="133" y="680"/>
                  </a:moveTo>
                  <a:cubicBezTo>
                    <a:pt x="130" y="684"/>
                    <a:pt x="127" y="688"/>
                    <a:pt x="124" y="691"/>
                  </a:cubicBezTo>
                  <a:cubicBezTo>
                    <a:pt x="124" y="691"/>
                    <a:pt x="124" y="690"/>
                    <a:pt x="123" y="689"/>
                  </a:cubicBezTo>
                  <a:cubicBezTo>
                    <a:pt x="123" y="688"/>
                    <a:pt x="123" y="688"/>
                    <a:pt x="123" y="687"/>
                  </a:cubicBezTo>
                  <a:cubicBezTo>
                    <a:pt x="124" y="677"/>
                    <a:pt x="123" y="668"/>
                    <a:pt x="113" y="663"/>
                  </a:cubicBezTo>
                  <a:cubicBezTo>
                    <a:pt x="113" y="657"/>
                    <a:pt x="113" y="652"/>
                    <a:pt x="113" y="647"/>
                  </a:cubicBezTo>
                  <a:cubicBezTo>
                    <a:pt x="114" y="640"/>
                    <a:pt x="113" y="634"/>
                    <a:pt x="109" y="628"/>
                  </a:cubicBezTo>
                  <a:cubicBezTo>
                    <a:pt x="107" y="625"/>
                    <a:pt x="107" y="623"/>
                    <a:pt x="108" y="619"/>
                  </a:cubicBezTo>
                  <a:cubicBezTo>
                    <a:pt x="110" y="614"/>
                    <a:pt x="114" y="608"/>
                    <a:pt x="113" y="602"/>
                  </a:cubicBezTo>
                  <a:cubicBezTo>
                    <a:pt x="113" y="601"/>
                    <a:pt x="113" y="600"/>
                    <a:pt x="114" y="600"/>
                  </a:cubicBezTo>
                  <a:cubicBezTo>
                    <a:pt x="118" y="594"/>
                    <a:pt x="117" y="587"/>
                    <a:pt x="117" y="581"/>
                  </a:cubicBezTo>
                  <a:cubicBezTo>
                    <a:pt x="116" y="577"/>
                    <a:pt x="118" y="573"/>
                    <a:pt x="122" y="571"/>
                  </a:cubicBezTo>
                  <a:cubicBezTo>
                    <a:pt x="120" y="577"/>
                    <a:pt x="125" y="581"/>
                    <a:pt x="127" y="585"/>
                  </a:cubicBezTo>
                  <a:cubicBezTo>
                    <a:pt x="131" y="593"/>
                    <a:pt x="133" y="600"/>
                    <a:pt x="133" y="608"/>
                  </a:cubicBezTo>
                  <a:cubicBezTo>
                    <a:pt x="133" y="623"/>
                    <a:pt x="132" y="637"/>
                    <a:pt x="133" y="651"/>
                  </a:cubicBezTo>
                  <a:cubicBezTo>
                    <a:pt x="134" y="661"/>
                    <a:pt x="132" y="671"/>
                    <a:pt x="133" y="680"/>
                  </a:cubicBezTo>
                  <a:close/>
                  <a:moveTo>
                    <a:pt x="702" y="1652"/>
                  </a:moveTo>
                  <a:cubicBezTo>
                    <a:pt x="702" y="1653"/>
                    <a:pt x="702" y="1653"/>
                    <a:pt x="702" y="1653"/>
                  </a:cubicBezTo>
                  <a:cubicBezTo>
                    <a:pt x="702" y="1653"/>
                    <a:pt x="702" y="1653"/>
                    <a:pt x="702" y="16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0"/>
              </a:endParaRPr>
            </a:p>
          </p:txBody>
        </p:sp>
        <p:sp>
          <p:nvSpPr>
            <p:cNvPr id="101" name="Freeform 7">
              <a:extLst>
                <a:ext uri="{FF2B5EF4-FFF2-40B4-BE49-F238E27FC236}">
                  <a16:creationId xmlns:a16="http://schemas.microsoft.com/office/drawing/2014/main" id="{5954CA66-ACB5-4032-B2A5-67D4E397A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838" y="2220913"/>
              <a:ext cx="1058862" cy="3076575"/>
            </a:xfrm>
            <a:custGeom>
              <a:avLst/>
              <a:gdLst>
                <a:gd name="T0" fmla="*/ 528 w 567"/>
                <a:gd name="T1" fmla="*/ 442 h 1649"/>
                <a:gd name="T2" fmla="*/ 519 w 567"/>
                <a:gd name="T3" fmla="*/ 315 h 1649"/>
                <a:gd name="T4" fmla="*/ 368 w 567"/>
                <a:gd name="T5" fmla="*/ 248 h 1649"/>
                <a:gd name="T6" fmla="*/ 372 w 567"/>
                <a:gd name="T7" fmla="*/ 170 h 1649"/>
                <a:gd name="T8" fmla="*/ 370 w 567"/>
                <a:gd name="T9" fmla="*/ 82 h 1649"/>
                <a:gd name="T10" fmla="*/ 335 w 567"/>
                <a:gd name="T11" fmla="*/ 17 h 1649"/>
                <a:gd name="T12" fmla="*/ 270 w 567"/>
                <a:gd name="T13" fmla="*/ 8 h 1649"/>
                <a:gd name="T14" fmla="*/ 214 w 567"/>
                <a:gd name="T15" fmla="*/ 66 h 1649"/>
                <a:gd name="T16" fmla="*/ 217 w 567"/>
                <a:gd name="T17" fmla="*/ 101 h 1649"/>
                <a:gd name="T18" fmla="*/ 209 w 567"/>
                <a:gd name="T19" fmla="*/ 139 h 1649"/>
                <a:gd name="T20" fmla="*/ 221 w 567"/>
                <a:gd name="T21" fmla="*/ 235 h 1649"/>
                <a:gd name="T22" fmla="*/ 102 w 567"/>
                <a:gd name="T23" fmla="*/ 284 h 1649"/>
                <a:gd name="T24" fmla="*/ 39 w 567"/>
                <a:gd name="T25" fmla="*/ 382 h 1649"/>
                <a:gd name="T26" fmla="*/ 9 w 567"/>
                <a:gd name="T27" fmla="*/ 549 h 1649"/>
                <a:gd name="T28" fmla="*/ 1 w 567"/>
                <a:gd name="T29" fmla="*/ 620 h 1649"/>
                <a:gd name="T30" fmla="*/ 15 w 567"/>
                <a:gd name="T31" fmla="*/ 716 h 1649"/>
                <a:gd name="T32" fmla="*/ 66 w 567"/>
                <a:gd name="T33" fmla="*/ 823 h 1649"/>
                <a:gd name="T34" fmla="*/ 84 w 567"/>
                <a:gd name="T35" fmla="*/ 879 h 1649"/>
                <a:gd name="T36" fmla="*/ 86 w 567"/>
                <a:gd name="T37" fmla="*/ 981 h 1649"/>
                <a:gd name="T38" fmla="*/ 90 w 567"/>
                <a:gd name="T39" fmla="*/ 1111 h 1649"/>
                <a:gd name="T40" fmla="*/ 98 w 567"/>
                <a:gd name="T41" fmla="*/ 1200 h 1649"/>
                <a:gd name="T42" fmla="*/ 105 w 567"/>
                <a:gd name="T43" fmla="*/ 1330 h 1649"/>
                <a:gd name="T44" fmla="*/ 118 w 567"/>
                <a:gd name="T45" fmla="*/ 1447 h 1649"/>
                <a:gd name="T46" fmla="*/ 95 w 567"/>
                <a:gd name="T47" fmla="*/ 1503 h 1649"/>
                <a:gd name="T48" fmla="*/ 85 w 567"/>
                <a:gd name="T49" fmla="*/ 1559 h 1649"/>
                <a:gd name="T50" fmla="*/ 58 w 567"/>
                <a:gd name="T51" fmla="*/ 1586 h 1649"/>
                <a:gd name="T52" fmla="*/ 48 w 567"/>
                <a:gd name="T53" fmla="*/ 1599 h 1649"/>
                <a:gd name="T54" fmla="*/ 61 w 567"/>
                <a:gd name="T55" fmla="*/ 1637 h 1649"/>
                <a:gd name="T56" fmla="*/ 180 w 567"/>
                <a:gd name="T57" fmla="*/ 1602 h 1649"/>
                <a:gd name="T58" fmla="*/ 215 w 567"/>
                <a:gd name="T59" fmla="*/ 1569 h 1649"/>
                <a:gd name="T60" fmla="*/ 215 w 567"/>
                <a:gd name="T61" fmla="*/ 1534 h 1649"/>
                <a:gd name="T62" fmla="*/ 229 w 567"/>
                <a:gd name="T63" fmla="*/ 1433 h 1649"/>
                <a:gd name="T64" fmla="*/ 241 w 567"/>
                <a:gd name="T65" fmla="*/ 1318 h 1649"/>
                <a:gd name="T66" fmla="*/ 260 w 567"/>
                <a:gd name="T67" fmla="*/ 1193 h 1649"/>
                <a:gd name="T68" fmla="*/ 272 w 567"/>
                <a:gd name="T69" fmla="*/ 1102 h 1649"/>
                <a:gd name="T70" fmla="*/ 286 w 567"/>
                <a:gd name="T71" fmla="*/ 998 h 1649"/>
                <a:gd name="T72" fmla="*/ 297 w 567"/>
                <a:gd name="T73" fmla="*/ 1101 h 1649"/>
                <a:gd name="T74" fmla="*/ 307 w 567"/>
                <a:gd name="T75" fmla="*/ 1190 h 1649"/>
                <a:gd name="T76" fmla="*/ 332 w 567"/>
                <a:gd name="T77" fmla="*/ 1318 h 1649"/>
                <a:gd name="T78" fmla="*/ 335 w 567"/>
                <a:gd name="T79" fmla="*/ 1472 h 1649"/>
                <a:gd name="T80" fmla="*/ 355 w 567"/>
                <a:gd name="T81" fmla="*/ 1543 h 1649"/>
                <a:gd name="T82" fmla="*/ 360 w 567"/>
                <a:gd name="T83" fmla="*/ 1592 h 1649"/>
                <a:gd name="T84" fmla="*/ 393 w 567"/>
                <a:gd name="T85" fmla="*/ 1622 h 1649"/>
                <a:gd name="T86" fmla="*/ 492 w 567"/>
                <a:gd name="T87" fmla="*/ 1637 h 1649"/>
                <a:gd name="T88" fmla="*/ 491 w 567"/>
                <a:gd name="T89" fmla="*/ 1599 h 1649"/>
                <a:gd name="T90" fmla="*/ 465 w 567"/>
                <a:gd name="T91" fmla="*/ 1561 h 1649"/>
                <a:gd name="T92" fmla="*/ 466 w 567"/>
                <a:gd name="T93" fmla="*/ 1473 h 1649"/>
                <a:gd name="T94" fmla="*/ 465 w 567"/>
                <a:gd name="T95" fmla="*/ 1381 h 1649"/>
                <a:gd name="T96" fmla="*/ 482 w 567"/>
                <a:gd name="T97" fmla="*/ 1244 h 1649"/>
                <a:gd name="T98" fmla="*/ 485 w 567"/>
                <a:gd name="T99" fmla="*/ 1151 h 1649"/>
                <a:gd name="T100" fmla="*/ 485 w 567"/>
                <a:gd name="T101" fmla="*/ 925 h 1649"/>
                <a:gd name="T102" fmla="*/ 485 w 567"/>
                <a:gd name="T103" fmla="*/ 867 h 1649"/>
                <a:gd name="T104" fmla="*/ 525 w 567"/>
                <a:gd name="T105" fmla="*/ 834 h 1649"/>
                <a:gd name="T106" fmla="*/ 563 w 567"/>
                <a:gd name="T107" fmla="*/ 629 h 1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67" h="1649">
                  <a:moveTo>
                    <a:pt x="563" y="629"/>
                  </a:moveTo>
                  <a:cubicBezTo>
                    <a:pt x="560" y="609"/>
                    <a:pt x="555" y="591"/>
                    <a:pt x="551" y="571"/>
                  </a:cubicBezTo>
                  <a:cubicBezTo>
                    <a:pt x="547" y="552"/>
                    <a:pt x="549" y="533"/>
                    <a:pt x="545" y="514"/>
                  </a:cubicBezTo>
                  <a:cubicBezTo>
                    <a:pt x="541" y="490"/>
                    <a:pt x="533" y="467"/>
                    <a:pt x="528" y="442"/>
                  </a:cubicBezTo>
                  <a:cubicBezTo>
                    <a:pt x="524" y="417"/>
                    <a:pt x="530" y="396"/>
                    <a:pt x="531" y="370"/>
                  </a:cubicBezTo>
                  <a:cubicBezTo>
                    <a:pt x="531" y="359"/>
                    <a:pt x="530" y="348"/>
                    <a:pt x="529" y="337"/>
                  </a:cubicBezTo>
                  <a:cubicBezTo>
                    <a:pt x="529" y="333"/>
                    <a:pt x="528" y="329"/>
                    <a:pt x="527" y="325"/>
                  </a:cubicBezTo>
                  <a:cubicBezTo>
                    <a:pt x="525" y="320"/>
                    <a:pt x="523" y="317"/>
                    <a:pt x="519" y="315"/>
                  </a:cubicBezTo>
                  <a:cubicBezTo>
                    <a:pt x="514" y="313"/>
                    <a:pt x="510" y="311"/>
                    <a:pt x="506" y="310"/>
                  </a:cubicBezTo>
                  <a:cubicBezTo>
                    <a:pt x="487" y="302"/>
                    <a:pt x="468" y="294"/>
                    <a:pt x="449" y="286"/>
                  </a:cubicBezTo>
                  <a:cubicBezTo>
                    <a:pt x="428" y="278"/>
                    <a:pt x="407" y="269"/>
                    <a:pt x="387" y="260"/>
                  </a:cubicBezTo>
                  <a:cubicBezTo>
                    <a:pt x="380" y="257"/>
                    <a:pt x="373" y="254"/>
                    <a:pt x="368" y="248"/>
                  </a:cubicBezTo>
                  <a:cubicBezTo>
                    <a:pt x="364" y="243"/>
                    <a:pt x="360" y="238"/>
                    <a:pt x="356" y="233"/>
                  </a:cubicBezTo>
                  <a:cubicBezTo>
                    <a:pt x="357" y="231"/>
                    <a:pt x="357" y="230"/>
                    <a:pt x="358" y="228"/>
                  </a:cubicBezTo>
                  <a:cubicBezTo>
                    <a:pt x="361" y="219"/>
                    <a:pt x="364" y="209"/>
                    <a:pt x="367" y="200"/>
                  </a:cubicBezTo>
                  <a:cubicBezTo>
                    <a:pt x="370" y="190"/>
                    <a:pt x="369" y="179"/>
                    <a:pt x="372" y="170"/>
                  </a:cubicBezTo>
                  <a:cubicBezTo>
                    <a:pt x="375" y="161"/>
                    <a:pt x="376" y="153"/>
                    <a:pt x="377" y="144"/>
                  </a:cubicBezTo>
                  <a:cubicBezTo>
                    <a:pt x="378" y="135"/>
                    <a:pt x="378" y="127"/>
                    <a:pt x="372" y="119"/>
                  </a:cubicBezTo>
                  <a:cubicBezTo>
                    <a:pt x="371" y="108"/>
                    <a:pt x="370" y="98"/>
                    <a:pt x="369" y="87"/>
                  </a:cubicBezTo>
                  <a:cubicBezTo>
                    <a:pt x="369" y="85"/>
                    <a:pt x="370" y="83"/>
                    <a:pt x="370" y="82"/>
                  </a:cubicBezTo>
                  <a:cubicBezTo>
                    <a:pt x="370" y="77"/>
                    <a:pt x="371" y="72"/>
                    <a:pt x="370" y="68"/>
                  </a:cubicBezTo>
                  <a:cubicBezTo>
                    <a:pt x="368" y="55"/>
                    <a:pt x="362" y="44"/>
                    <a:pt x="356" y="33"/>
                  </a:cubicBezTo>
                  <a:cubicBezTo>
                    <a:pt x="356" y="31"/>
                    <a:pt x="355" y="30"/>
                    <a:pt x="353" y="29"/>
                  </a:cubicBezTo>
                  <a:cubicBezTo>
                    <a:pt x="347" y="25"/>
                    <a:pt x="342" y="20"/>
                    <a:pt x="335" y="17"/>
                  </a:cubicBezTo>
                  <a:cubicBezTo>
                    <a:pt x="326" y="14"/>
                    <a:pt x="317" y="13"/>
                    <a:pt x="309" y="7"/>
                  </a:cubicBezTo>
                  <a:cubicBezTo>
                    <a:pt x="303" y="3"/>
                    <a:pt x="295" y="2"/>
                    <a:pt x="288" y="0"/>
                  </a:cubicBezTo>
                  <a:cubicBezTo>
                    <a:pt x="286" y="3"/>
                    <a:pt x="284" y="5"/>
                    <a:pt x="282" y="8"/>
                  </a:cubicBezTo>
                  <a:cubicBezTo>
                    <a:pt x="278" y="8"/>
                    <a:pt x="274" y="8"/>
                    <a:pt x="270" y="8"/>
                  </a:cubicBezTo>
                  <a:cubicBezTo>
                    <a:pt x="262" y="9"/>
                    <a:pt x="254" y="8"/>
                    <a:pt x="250" y="17"/>
                  </a:cubicBezTo>
                  <a:cubicBezTo>
                    <a:pt x="249" y="19"/>
                    <a:pt x="247" y="19"/>
                    <a:pt x="245" y="20"/>
                  </a:cubicBezTo>
                  <a:cubicBezTo>
                    <a:pt x="237" y="25"/>
                    <a:pt x="229" y="31"/>
                    <a:pt x="225" y="39"/>
                  </a:cubicBezTo>
                  <a:cubicBezTo>
                    <a:pt x="221" y="48"/>
                    <a:pt x="220" y="58"/>
                    <a:pt x="214" y="66"/>
                  </a:cubicBezTo>
                  <a:cubicBezTo>
                    <a:pt x="214" y="66"/>
                    <a:pt x="214" y="67"/>
                    <a:pt x="214" y="67"/>
                  </a:cubicBezTo>
                  <a:cubicBezTo>
                    <a:pt x="214" y="73"/>
                    <a:pt x="214" y="80"/>
                    <a:pt x="215" y="86"/>
                  </a:cubicBezTo>
                  <a:cubicBezTo>
                    <a:pt x="215" y="89"/>
                    <a:pt x="216" y="91"/>
                    <a:pt x="216" y="93"/>
                  </a:cubicBezTo>
                  <a:cubicBezTo>
                    <a:pt x="216" y="96"/>
                    <a:pt x="217" y="99"/>
                    <a:pt x="217" y="101"/>
                  </a:cubicBezTo>
                  <a:cubicBezTo>
                    <a:pt x="217" y="104"/>
                    <a:pt x="218" y="107"/>
                    <a:pt x="217" y="108"/>
                  </a:cubicBezTo>
                  <a:cubicBezTo>
                    <a:pt x="215" y="111"/>
                    <a:pt x="216" y="112"/>
                    <a:pt x="216" y="114"/>
                  </a:cubicBezTo>
                  <a:cubicBezTo>
                    <a:pt x="217" y="118"/>
                    <a:pt x="216" y="122"/>
                    <a:pt x="216" y="126"/>
                  </a:cubicBezTo>
                  <a:cubicBezTo>
                    <a:pt x="210" y="128"/>
                    <a:pt x="209" y="134"/>
                    <a:pt x="209" y="139"/>
                  </a:cubicBezTo>
                  <a:cubicBezTo>
                    <a:pt x="209" y="156"/>
                    <a:pt x="214" y="171"/>
                    <a:pt x="224" y="185"/>
                  </a:cubicBezTo>
                  <a:cubicBezTo>
                    <a:pt x="224" y="191"/>
                    <a:pt x="223" y="198"/>
                    <a:pt x="224" y="204"/>
                  </a:cubicBezTo>
                  <a:cubicBezTo>
                    <a:pt x="225" y="211"/>
                    <a:pt x="227" y="218"/>
                    <a:pt x="229" y="225"/>
                  </a:cubicBezTo>
                  <a:cubicBezTo>
                    <a:pt x="226" y="228"/>
                    <a:pt x="223" y="232"/>
                    <a:pt x="221" y="235"/>
                  </a:cubicBezTo>
                  <a:cubicBezTo>
                    <a:pt x="215" y="245"/>
                    <a:pt x="206" y="250"/>
                    <a:pt x="196" y="254"/>
                  </a:cubicBezTo>
                  <a:cubicBezTo>
                    <a:pt x="182" y="260"/>
                    <a:pt x="167" y="264"/>
                    <a:pt x="153" y="269"/>
                  </a:cubicBezTo>
                  <a:cubicBezTo>
                    <a:pt x="142" y="273"/>
                    <a:pt x="131" y="277"/>
                    <a:pt x="120" y="281"/>
                  </a:cubicBezTo>
                  <a:cubicBezTo>
                    <a:pt x="114" y="283"/>
                    <a:pt x="108" y="283"/>
                    <a:pt x="102" y="284"/>
                  </a:cubicBezTo>
                  <a:cubicBezTo>
                    <a:pt x="90" y="287"/>
                    <a:pt x="78" y="289"/>
                    <a:pt x="66" y="294"/>
                  </a:cubicBezTo>
                  <a:cubicBezTo>
                    <a:pt x="61" y="296"/>
                    <a:pt x="58" y="299"/>
                    <a:pt x="56" y="303"/>
                  </a:cubicBezTo>
                  <a:cubicBezTo>
                    <a:pt x="49" y="318"/>
                    <a:pt x="44" y="334"/>
                    <a:pt x="45" y="351"/>
                  </a:cubicBezTo>
                  <a:cubicBezTo>
                    <a:pt x="45" y="362"/>
                    <a:pt x="41" y="371"/>
                    <a:pt x="39" y="382"/>
                  </a:cubicBezTo>
                  <a:cubicBezTo>
                    <a:pt x="37" y="390"/>
                    <a:pt x="39" y="397"/>
                    <a:pt x="38" y="405"/>
                  </a:cubicBezTo>
                  <a:cubicBezTo>
                    <a:pt x="34" y="436"/>
                    <a:pt x="24" y="467"/>
                    <a:pt x="18" y="498"/>
                  </a:cubicBezTo>
                  <a:cubicBezTo>
                    <a:pt x="16" y="510"/>
                    <a:pt x="14" y="521"/>
                    <a:pt x="12" y="532"/>
                  </a:cubicBezTo>
                  <a:cubicBezTo>
                    <a:pt x="11" y="538"/>
                    <a:pt x="9" y="544"/>
                    <a:pt x="9" y="549"/>
                  </a:cubicBezTo>
                  <a:cubicBezTo>
                    <a:pt x="8" y="554"/>
                    <a:pt x="8" y="559"/>
                    <a:pt x="6" y="563"/>
                  </a:cubicBezTo>
                  <a:cubicBezTo>
                    <a:pt x="5" y="566"/>
                    <a:pt x="4" y="570"/>
                    <a:pt x="4" y="574"/>
                  </a:cubicBezTo>
                  <a:cubicBezTo>
                    <a:pt x="4" y="584"/>
                    <a:pt x="2" y="593"/>
                    <a:pt x="1" y="603"/>
                  </a:cubicBezTo>
                  <a:cubicBezTo>
                    <a:pt x="0" y="609"/>
                    <a:pt x="0" y="614"/>
                    <a:pt x="1" y="620"/>
                  </a:cubicBezTo>
                  <a:cubicBezTo>
                    <a:pt x="2" y="627"/>
                    <a:pt x="2" y="635"/>
                    <a:pt x="1" y="643"/>
                  </a:cubicBezTo>
                  <a:cubicBezTo>
                    <a:pt x="0" y="651"/>
                    <a:pt x="0" y="660"/>
                    <a:pt x="1" y="668"/>
                  </a:cubicBezTo>
                  <a:cubicBezTo>
                    <a:pt x="3" y="680"/>
                    <a:pt x="7" y="691"/>
                    <a:pt x="10" y="702"/>
                  </a:cubicBezTo>
                  <a:cubicBezTo>
                    <a:pt x="11" y="707"/>
                    <a:pt x="14" y="711"/>
                    <a:pt x="15" y="716"/>
                  </a:cubicBezTo>
                  <a:cubicBezTo>
                    <a:pt x="23" y="746"/>
                    <a:pt x="30" y="776"/>
                    <a:pt x="38" y="806"/>
                  </a:cubicBezTo>
                  <a:cubicBezTo>
                    <a:pt x="40" y="812"/>
                    <a:pt x="42" y="819"/>
                    <a:pt x="45" y="824"/>
                  </a:cubicBezTo>
                  <a:cubicBezTo>
                    <a:pt x="51" y="828"/>
                    <a:pt x="51" y="821"/>
                    <a:pt x="53" y="821"/>
                  </a:cubicBezTo>
                  <a:cubicBezTo>
                    <a:pt x="58" y="822"/>
                    <a:pt x="62" y="822"/>
                    <a:pt x="66" y="823"/>
                  </a:cubicBezTo>
                  <a:cubicBezTo>
                    <a:pt x="67" y="825"/>
                    <a:pt x="69" y="828"/>
                    <a:pt x="69" y="831"/>
                  </a:cubicBezTo>
                  <a:cubicBezTo>
                    <a:pt x="71" y="838"/>
                    <a:pt x="74" y="845"/>
                    <a:pt x="75" y="853"/>
                  </a:cubicBezTo>
                  <a:cubicBezTo>
                    <a:pt x="77" y="858"/>
                    <a:pt x="78" y="863"/>
                    <a:pt x="81" y="868"/>
                  </a:cubicBezTo>
                  <a:cubicBezTo>
                    <a:pt x="83" y="871"/>
                    <a:pt x="84" y="875"/>
                    <a:pt x="84" y="879"/>
                  </a:cubicBezTo>
                  <a:cubicBezTo>
                    <a:pt x="84" y="883"/>
                    <a:pt x="84" y="888"/>
                    <a:pt x="84" y="893"/>
                  </a:cubicBezTo>
                  <a:cubicBezTo>
                    <a:pt x="85" y="906"/>
                    <a:pt x="86" y="919"/>
                    <a:pt x="86" y="932"/>
                  </a:cubicBezTo>
                  <a:cubicBezTo>
                    <a:pt x="87" y="946"/>
                    <a:pt x="86" y="961"/>
                    <a:pt x="85" y="975"/>
                  </a:cubicBezTo>
                  <a:cubicBezTo>
                    <a:pt x="85" y="977"/>
                    <a:pt x="85" y="979"/>
                    <a:pt x="86" y="981"/>
                  </a:cubicBezTo>
                  <a:cubicBezTo>
                    <a:pt x="88" y="994"/>
                    <a:pt x="89" y="1007"/>
                    <a:pt x="89" y="1020"/>
                  </a:cubicBezTo>
                  <a:cubicBezTo>
                    <a:pt x="89" y="1023"/>
                    <a:pt x="88" y="1025"/>
                    <a:pt x="89" y="1028"/>
                  </a:cubicBezTo>
                  <a:cubicBezTo>
                    <a:pt x="91" y="1044"/>
                    <a:pt x="92" y="1060"/>
                    <a:pt x="92" y="1075"/>
                  </a:cubicBezTo>
                  <a:cubicBezTo>
                    <a:pt x="91" y="1087"/>
                    <a:pt x="90" y="1099"/>
                    <a:pt x="90" y="1111"/>
                  </a:cubicBezTo>
                  <a:cubicBezTo>
                    <a:pt x="91" y="1116"/>
                    <a:pt x="92" y="1122"/>
                    <a:pt x="92" y="1127"/>
                  </a:cubicBezTo>
                  <a:cubicBezTo>
                    <a:pt x="92" y="1140"/>
                    <a:pt x="93" y="1154"/>
                    <a:pt x="94" y="1167"/>
                  </a:cubicBezTo>
                  <a:cubicBezTo>
                    <a:pt x="94" y="1168"/>
                    <a:pt x="94" y="1169"/>
                    <a:pt x="94" y="1170"/>
                  </a:cubicBezTo>
                  <a:cubicBezTo>
                    <a:pt x="95" y="1180"/>
                    <a:pt x="97" y="1190"/>
                    <a:pt x="98" y="1200"/>
                  </a:cubicBezTo>
                  <a:cubicBezTo>
                    <a:pt x="99" y="1214"/>
                    <a:pt x="99" y="1228"/>
                    <a:pt x="100" y="1242"/>
                  </a:cubicBezTo>
                  <a:cubicBezTo>
                    <a:pt x="100" y="1245"/>
                    <a:pt x="100" y="1248"/>
                    <a:pt x="100" y="1251"/>
                  </a:cubicBezTo>
                  <a:cubicBezTo>
                    <a:pt x="101" y="1267"/>
                    <a:pt x="102" y="1282"/>
                    <a:pt x="103" y="1298"/>
                  </a:cubicBezTo>
                  <a:cubicBezTo>
                    <a:pt x="104" y="1309"/>
                    <a:pt x="104" y="1319"/>
                    <a:pt x="105" y="1330"/>
                  </a:cubicBezTo>
                  <a:cubicBezTo>
                    <a:pt x="106" y="1346"/>
                    <a:pt x="106" y="1361"/>
                    <a:pt x="108" y="1376"/>
                  </a:cubicBezTo>
                  <a:cubicBezTo>
                    <a:pt x="109" y="1386"/>
                    <a:pt x="110" y="1396"/>
                    <a:pt x="112" y="1405"/>
                  </a:cubicBezTo>
                  <a:cubicBezTo>
                    <a:pt x="114" y="1417"/>
                    <a:pt x="117" y="1428"/>
                    <a:pt x="119" y="1440"/>
                  </a:cubicBezTo>
                  <a:cubicBezTo>
                    <a:pt x="120" y="1442"/>
                    <a:pt x="119" y="1445"/>
                    <a:pt x="118" y="1447"/>
                  </a:cubicBezTo>
                  <a:cubicBezTo>
                    <a:pt x="117" y="1451"/>
                    <a:pt x="115" y="1455"/>
                    <a:pt x="113" y="1459"/>
                  </a:cubicBezTo>
                  <a:cubicBezTo>
                    <a:pt x="111" y="1466"/>
                    <a:pt x="107" y="1472"/>
                    <a:pt x="100" y="1475"/>
                  </a:cubicBezTo>
                  <a:cubicBezTo>
                    <a:pt x="93" y="1478"/>
                    <a:pt x="91" y="1486"/>
                    <a:pt x="93" y="1492"/>
                  </a:cubicBezTo>
                  <a:cubicBezTo>
                    <a:pt x="94" y="1496"/>
                    <a:pt x="95" y="1499"/>
                    <a:pt x="95" y="1503"/>
                  </a:cubicBezTo>
                  <a:cubicBezTo>
                    <a:pt x="96" y="1510"/>
                    <a:pt x="96" y="1518"/>
                    <a:pt x="97" y="1526"/>
                  </a:cubicBezTo>
                  <a:cubicBezTo>
                    <a:pt x="97" y="1530"/>
                    <a:pt x="98" y="1534"/>
                    <a:pt x="98" y="1538"/>
                  </a:cubicBezTo>
                  <a:cubicBezTo>
                    <a:pt x="99" y="1540"/>
                    <a:pt x="100" y="1542"/>
                    <a:pt x="100" y="1546"/>
                  </a:cubicBezTo>
                  <a:cubicBezTo>
                    <a:pt x="96" y="1550"/>
                    <a:pt x="90" y="1555"/>
                    <a:pt x="85" y="1559"/>
                  </a:cubicBezTo>
                  <a:cubicBezTo>
                    <a:pt x="82" y="1562"/>
                    <a:pt x="79" y="1563"/>
                    <a:pt x="80" y="1567"/>
                  </a:cubicBezTo>
                  <a:cubicBezTo>
                    <a:pt x="77" y="1569"/>
                    <a:pt x="75" y="1571"/>
                    <a:pt x="72" y="1573"/>
                  </a:cubicBezTo>
                  <a:cubicBezTo>
                    <a:pt x="70" y="1575"/>
                    <a:pt x="67" y="1579"/>
                    <a:pt x="64" y="1580"/>
                  </a:cubicBezTo>
                  <a:cubicBezTo>
                    <a:pt x="61" y="1580"/>
                    <a:pt x="59" y="1583"/>
                    <a:pt x="58" y="1586"/>
                  </a:cubicBezTo>
                  <a:cubicBezTo>
                    <a:pt x="57" y="1587"/>
                    <a:pt x="56" y="1589"/>
                    <a:pt x="55" y="1590"/>
                  </a:cubicBezTo>
                  <a:cubicBezTo>
                    <a:pt x="55" y="1591"/>
                    <a:pt x="54" y="1591"/>
                    <a:pt x="53" y="1592"/>
                  </a:cubicBezTo>
                  <a:cubicBezTo>
                    <a:pt x="53" y="1592"/>
                    <a:pt x="52" y="1593"/>
                    <a:pt x="51" y="1593"/>
                  </a:cubicBezTo>
                  <a:cubicBezTo>
                    <a:pt x="49" y="1595"/>
                    <a:pt x="48" y="1597"/>
                    <a:pt x="48" y="1599"/>
                  </a:cubicBezTo>
                  <a:cubicBezTo>
                    <a:pt x="48" y="1605"/>
                    <a:pt x="45" y="1609"/>
                    <a:pt x="42" y="1612"/>
                  </a:cubicBezTo>
                  <a:cubicBezTo>
                    <a:pt x="38" y="1616"/>
                    <a:pt x="39" y="1619"/>
                    <a:pt x="43" y="1622"/>
                  </a:cubicBezTo>
                  <a:cubicBezTo>
                    <a:pt x="45" y="1623"/>
                    <a:pt x="48" y="1625"/>
                    <a:pt x="49" y="1627"/>
                  </a:cubicBezTo>
                  <a:cubicBezTo>
                    <a:pt x="50" y="1634"/>
                    <a:pt x="56" y="1637"/>
                    <a:pt x="61" y="1637"/>
                  </a:cubicBezTo>
                  <a:cubicBezTo>
                    <a:pt x="73" y="1639"/>
                    <a:pt x="84" y="1642"/>
                    <a:pt x="97" y="1640"/>
                  </a:cubicBezTo>
                  <a:cubicBezTo>
                    <a:pt x="109" y="1638"/>
                    <a:pt x="122" y="1636"/>
                    <a:pt x="133" y="1631"/>
                  </a:cubicBezTo>
                  <a:cubicBezTo>
                    <a:pt x="145" y="1627"/>
                    <a:pt x="155" y="1622"/>
                    <a:pt x="161" y="1611"/>
                  </a:cubicBezTo>
                  <a:cubicBezTo>
                    <a:pt x="165" y="1603"/>
                    <a:pt x="173" y="1603"/>
                    <a:pt x="180" y="1602"/>
                  </a:cubicBezTo>
                  <a:cubicBezTo>
                    <a:pt x="182" y="1602"/>
                    <a:pt x="183" y="1603"/>
                    <a:pt x="184" y="1603"/>
                  </a:cubicBezTo>
                  <a:cubicBezTo>
                    <a:pt x="186" y="1602"/>
                    <a:pt x="187" y="1601"/>
                    <a:pt x="188" y="1600"/>
                  </a:cubicBezTo>
                  <a:cubicBezTo>
                    <a:pt x="195" y="1597"/>
                    <a:pt x="201" y="1595"/>
                    <a:pt x="208" y="1592"/>
                  </a:cubicBezTo>
                  <a:cubicBezTo>
                    <a:pt x="218" y="1586"/>
                    <a:pt x="220" y="1580"/>
                    <a:pt x="215" y="1569"/>
                  </a:cubicBezTo>
                  <a:cubicBezTo>
                    <a:pt x="214" y="1567"/>
                    <a:pt x="213" y="1566"/>
                    <a:pt x="213" y="1564"/>
                  </a:cubicBezTo>
                  <a:cubicBezTo>
                    <a:pt x="212" y="1560"/>
                    <a:pt x="211" y="1557"/>
                    <a:pt x="210" y="1552"/>
                  </a:cubicBezTo>
                  <a:cubicBezTo>
                    <a:pt x="210" y="1551"/>
                    <a:pt x="211" y="1549"/>
                    <a:pt x="211" y="1548"/>
                  </a:cubicBezTo>
                  <a:cubicBezTo>
                    <a:pt x="211" y="1543"/>
                    <a:pt x="213" y="1539"/>
                    <a:pt x="215" y="1534"/>
                  </a:cubicBezTo>
                  <a:cubicBezTo>
                    <a:pt x="216" y="1532"/>
                    <a:pt x="217" y="1530"/>
                    <a:pt x="218" y="1527"/>
                  </a:cubicBezTo>
                  <a:cubicBezTo>
                    <a:pt x="222" y="1519"/>
                    <a:pt x="227" y="1511"/>
                    <a:pt x="229" y="1502"/>
                  </a:cubicBezTo>
                  <a:cubicBezTo>
                    <a:pt x="231" y="1492"/>
                    <a:pt x="232" y="1481"/>
                    <a:pt x="232" y="1470"/>
                  </a:cubicBezTo>
                  <a:cubicBezTo>
                    <a:pt x="233" y="1457"/>
                    <a:pt x="232" y="1445"/>
                    <a:pt x="229" y="1433"/>
                  </a:cubicBezTo>
                  <a:cubicBezTo>
                    <a:pt x="227" y="1422"/>
                    <a:pt x="226" y="1411"/>
                    <a:pt x="225" y="1400"/>
                  </a:cubicBezTo>
                  <a:cubicBezTo>
                    <a:pt x="224" y="1396"/>
                    <a:pt x="223" y="1390"/>
                    <a:pt x="224" y="1385"/>
                  </a:cubicBezTo>
                  <a:cubicBezTo>
                    <a:pt x="227" y="1378"/>
                    <a:pt x="228" y="1370"/>
                    <a:pt x="231" y="1363"/>
                  </a:cubicBezTo>
                  <a:cubicBezTo>
                    <a:pt x="236" y="1348"/>
                    <a:pt x="239" y="1333"/>
                    <a:pt x="241" y="1318"/>
                  </a:cubicBezTo>
                  <a:cubicBezTo>
                    <a:pt x="242" y="1306"/>
                    <a:pt x="245" y="1293"/>
                    <a:pt x="247" y="1281"/>
                  </a:cubicBezTo>
                  <a:cubicBezTo>
                    <a:pt x="249" y="1274"/>
                    <a:pt x="251" y="1267"/>
                    <a:pt x="252" y="1259"/>
                  </a:cubicBezTo>
                  <a:cubicBezTo>
                    <a:pt x="254" y="1249"/>
                    <a:pt x="255" y="1239"/>
                    <a:pt x="256" y="1229"/>
                  </a:cubicBezTo>
                  <a:cubicBezTo>
                    <a:pt x="258" y="1217"/>
                    <a:pt x="261" y="1205"/>
                    <a:pt x="260" y="1193"/>
                  </a:cubicBezTo>
                  <a:cubicBezTo>
                    <a:pt x="260" y="1191"/>
                    <a:pt x="261" y="1188"/>
                    <a:pt x="261" y="1185"/>
                  </a:cubicBezTo>
                  <a:cubicBezTo>
                    <a:pt x="262" y="1175"/>
                    <a:pt x="264" y="1166"/>
                    <a:pt x="265" y="1156"/>
                  </a:cubicBezTo>
                  <a:cubicBezTo>
                    <a:pt x="266" y="1148"/>
                    <a:pt x="266" y="1141"/>
                    <a:pt x="267" y="1134"/>
                  </a:cubicBezTo>
                  <a:cubicBezTo>
                    <a:pt x="268" y="1123"/>
                    <a:pt x="270" y="1113"/>
                    <a:pt x="272" y="1102"/>
                  </a:cubicBezTo>
                  <a:cubicBezTo>
                    <a:pt x="273" y="1091"/>
                    <a:pt x="274" y="1079"/>
                    <a:pt x="275" y="1068"/>
                  </a:cubicBezTo>
                  <a:cubicBezTo>
                    <a:pt x="276" y="1056"/>
                    <a:pt x="277" y="1044"/>
                    <a:pt x="278" y="1032"/>
                  </a:cubicBezTo>
                  <a:cubicBezTo>
                    <a:pt x="280" y="1018"/>
                    <a:pt x="281" y="1005"/>
                    <a:pt x="283" y="992"/>
                  </a:cubicBezTo>
                  <a:cubicBezTo>
                    <a:pt x="285" y="994"/>
                    <a:pt x="286" y="996"/>
                    <a:pt x="286" y="998"/>
                  </a:cubicBezTo>
                  <a:cubicBezTo>
                    <a:pt x="287" y="1003"/>
                    <a:pt x="287" y="1008"/>
                    <a:pt x="288" y="1012"/>
                  </a:cubicBezTo>
                  <a:cubicBezTo>
                    <a:pt x="290" y="1022"/>
                    <a:pt x="293" y="1031"/>
                    <a:pt x="293" y="1042"/>
                  </a:cubicBezTo>
                  <a:cubicBezTo>
                    <a:pt x="293" y="1049"/>
                    <a:pt x="294" y="1056"/>
                    <a:pt x="294" y="1063"/>
                  </a:cubicBezTo>
                  <a:cubicBezTo>
                    <a:pt x="295" y="1075"/>
                    <a:pt x="296" y="1088"/>
                    <a:pt x="297" y="1101"/>
                  </a:cubicBezTo>
                  <a:cubicBezTo>
                    <a:pt x="298" y="1106"/>
                    <a:pt x="298" y="1112"/>
                    <a:pt x="299" y="1117"/>
                  </a:cubicBezTo>
                  <a:cubicBezTo>
                    <a:pt x="300" y="1124"/>
                    <a:pt x="301" y="1131"/>
                    <a:pt x="302" y="1138"/>
                  </a:cubicBezTo>
                  <a:cubicBezTo>
                    <a:pt x="303" y="1144"/>
                    <a:pt x="304" y="1150"/>
                    <a:pt x="304" y="1156"/>
                  </a:cubicBezTo>
                  <a:cubicBezTo>
                    <a:pt x="305" y="1167"/>
                    <a:pt x="307" y="1178"/>
                    <a:pt x="307" y="1190"/>
                  </a:cubicBezTo>
                  <a:cubicBezTo>
                    <a:pt x="307" y="1197"/>
                    <a:pt x="308" y="1204"/>
                    <a:pt x="310" y="1211"/>
                  </a:cubicBezTo>
                  <a:cubicBezTo>
                    <a:pt x="312" y="1222"/>
                    <a:pt x="315" y="1233"/>
                    <a:pt x="317" y="1244"/>
                  </a:cubicBezTo>
                  <a:cubicBezTo>
                    <a:pt x="319" y="1256"/>
                    <a:pt x="322" y="1268"/>
                    <a:pt x="324" y="1280"/>
                  </a:cubicBezTo>
                  <a:cubicBezTo>
                    <a:pt x="327" y="1293"/>
                    <a:pt x="329" y="1306"/>
                    <a:pt x="332" y="1318"/>
                  </a:cubicBezTo>
                  <a:cubicBezTo>
                    <a:pt x="335" y="1336"/>
                    <a:pt x="338" y="1354"/>
                    <a:pt x="343" y="1372"/>
                  </a:cubicBezTo>
                  <a:cubicBezTo>
                    <a:pt x="345" y="1377"/>
                    <a:pt x="345" y="1383"/>
                    <a:pt x="344" y="1388"/>
                  </a:cubicBezTo>
                  <a:cubicBezTo>
                    <a:pt x="343" y="1402"/>
                    <a:pt x="340" y="1417"/>
                    <a:pt x="338" y="1431"/>
                  </a:cubicBezTo>
                  <a:cubicBezTo>
                    <a:pt x="337" y="1445"/>
                    <a:pt x="336" y="1459"/>
                    <a:pt x="335" y="1472"/>
                  </a:cubicBezTo>
                  <a:cubicBezTo>
                    <a:pt x="335" y="1474"/>
                    <a:pt x="335" y="1476"/>
                    <a:pt x="335" y="1477"/>
                  </a:cubicBezTo>
                  <a:cubicBezTo>
                    <a:pt x="336" y="1481"/>
                    <a:pt x="336" y="1485"/>
                    <a:pt x="337" y="1488"/>
                  </a:cubicBezTo>
                  <a:cubicBezTo>
                    <a:pt x="339" y="1499"/>
                    <a:pt x="340" y="1509"/>
                    <a:pt x="345" y="1519"/>
                  </a:cubicBezTo>
                  <a:cubicBezTo>
                    <a:pt x="349" y="1526"/>
                    <a:pt x="352" y="1535"/>
                    <a:pt x="355" y="1543"/>
                  </a:cubicBezTo>
                  <a:cubicBezTo>
                    <a:pt x="356" y="1547"/>
                    <a:pt x="357" y="1552"/>
                    <a:pt x="358" y="1556"/>
                  </a:cubicBezTo>
                  <a:cubicBezTo>
                    <a:pt x="353" y="1562"/>
                    <a:pt x="354" y="1570"/>
                    <a:pt x="351" y="1577"/>
                  </a:cubicBezTo>
                  <a:cubicBezTo>
                    <a:pt x="351" y="1578"/>
                    <a:pt x="351" y="1580"/>
                    <a:pt x="351" y="1581"/>
                  </a:cubicBezTo>
                  <a:cubicBezTo>
                    <a:pt x="352" y="1586"/>
                    <a:pt x="356" y="1590"/>
                    <a:pt x="360" y="1592"/>
                  </a:cubicBezTo>
                  <a:cubicBezTo>
                    <a:pt x="364" y="1595"/>
                    <a:pt x="367" y="1597"/>
                    <a:pt x="371" y="1599"/>
                  </a:cubicBezTo>
                  <a:cubicBezTo>
                    <a:pt x="374" y="1600"/>
                    <a:pt x="377" y="1601"/>
                    <a:pt x="380" y="1602"/>
                  </a:cubicBezTo>
                  <a:cubicBezTo>
                    <a:pt x="386" y="1603"/>
                    <a:pt x="388" y="1605"/>
                    <a:pt x="389" y="1611"/>
                  </a:cubicBezTo>
                  <a:cubicBezTo>
                    <a:pt x="390" y="1615"/>
                    <a:pt x="391" y="1619"/>
                    <a:pt x="393" y="1622"/>
                  </a:cubicBezTo>
                  <a:cubicBezTo>
                    <a:pt x="399" y="1628"/>
                    <a:pt x="405" y="1633"/>
                    <a:pt x="413" y="1636"/>
                  </a:cubicBezTo>
                  <a:cubicBezTo>
                    <a:pt x="426" y="1640"/>
                    <a:pt x="437" y="1645"/>
                    <a:pt x="450" y="1647"/>
                  </a:cubicBezTo>
                  <a:cubicBezTo>
                    <a:pt x="464" y="1649"/>
                    <a:pt x="476" y="1647"/>
                    <a:pt x="488" y="1640"/>
                  </a:cubicBezTo>
                  <a:cubicBezTo>
                    <a:pt x="490" y="1640"/>
                    <a:pt x="491" y="1638"/>
                    <a:pt x="492" y="1637"/>
                  </a:cubicBezTo>
                  <a:cubicBezTo>
                    <a:pt x="494" y="1634"/>
                    <a:pt x="496" y="1631"/>
                    <a:pt x="498" y="1628"/>
                  </a:cubicBezTo>
                  <a:cubicBezTo>
                    <a:pt x="497" y="1625"/>
                    <a:pt x="496" y="1622"/>
                    <a:pt x="495" y="1619"/>
                  </a:cubicBezTo>
                  <a:cubicBezTo>
                    <a:pt x="494" y="1617"/>
                    <a:pt x="493" y="1614"/>
                    <a:pt x="494" y="1612"/>
                  </a:cubicBezTo>
                  <a:cubicBezTo>
                    <a:pt x="495" y="1607"/>
                    <a:pt x="493" y="1603"/>
                    <a:pt x="491" y="1599"/>
                  </a:cubicBezTo>
                  <a:cubicBezTo>
                    <a:pt x="490" y="1598"/>
                    <a:pt x="489" y="1596"/>
                    <a:pt x="489" y="1594"/>
                  </a:cubicBezTo>
                  <a:cubicBezTo>
                    <a:pt x="489" y="1589"/>
                    <a:pt x="486" y="1587"/>
                    <a:pt x="482" y="1584"/>
                  </a:cubicBezTo>
                  <a:cubicBezTo>
                    <a:pt x="479" y="1581"/>
                    <a:pt x="476" y="1577"/>
                    <a:pt x="473" y="1574"/>
                  </a:cubicBezTo>
                  <a:cubicBezTo>
                    <a:pt x="470" y="1570"/>
                    <a:pt x="468" y="1565"/>
                    <a:pt x="465" y="1561"/>
                  </a:cubicBezTo>
                  <a:cubicBezTo>
                    <a:pt x="459" y="1553"/>
                    <a:pt x="456" y="1544"/>
                    <a:pt x="458" y="1534"/>
                  </a:cubicBezTo>
                  <a:cubicBezTo>
                    <a:pt x="459" y="1528"/>
                    <a:pt x="460" y="1522"/>
                    <a:pt x="462" y="1516"/>
                  </a:cubicBezTo>
                  <a:cubicBezTo>
                    <a:pt x="463" y="1509"/>
                    <a:pt x="464" y="1502"/>
                    <a:pt x="467" y="1496"/>
                  </a:cubicBezTo>
                  <a:cubicBezTo>
                    <a:pt x="470" y="1489"/>
                    <a:pt x="470" y="1481"/>
                    <a:pt x="466" y="1473"/>
                  </a:cubicBezTo>
                  <a:cubicBezTo>
                    <a:pt x="462" y="1467"/>
                    <a:pt x="460" y="1461"/>
                    <a:pt x="459" y="1454"/>
                  </a:cubicBezTo>
                  <a:cubicBezTo>
                    <a:pt x="459" y="1449"/>
                    <a:pt x="458" y="1445"/>
                    <a:pt x="458" y="1440"/>
                  </a:cubicBezTo>
                  <a:cubicBezTo>
                    <a:pt x="459" y="1431"/>
                    <a:pt x="460" y="1423"/>
                    <a:pt x="461" y="1414"/>
                  </a:cubicBezTo>
                  <a:cubicBezTo>
                    <a:pt x="462" y="1403"/>
                    <a:pt x="463" y="1392"/>
                    <a:pt x="465" y="1381"/>
                  </a:cubicBezTo>
                  <a:cubicBezTo>
                    <a:pt x="467" y="1362"/>
                    <a:pt x="471" y="1344"/>
                    <a:pt x="474" y="1325"/>
                  </a:cubicBezTo>
                  <a:cubicBezTo>
                    <a:pt x="476" y="1310"/>
                    <a:pt x="477" y="1295"/>
                    <a:pt x="479" y="1281"/>
                  </a:cubicBezTo>
                  <a:cubicBezTo>
                    <a:pt x="479" y="1277"/>
                    <a:pt x="480" y="1273"/>
                    <a:pt x="480" y="1269"/>
                  </a:cubicBezTo>
                  <a:cubicBezTo>
                    <a:pt x="481" y="1261"/>
                    <a:pt x="482" y="1253"/>
                    <a:pt x="482" y="1244"/>
                  </a:cubicBezTo>
                  <a:cubicBezTo>
                    <a:pt x="483" y="1239"/>
                    <a:pt x="484" y="1233"/>
                    <a:pt x="484" y="1227"/>
                  </a:cubicBezTo>
                  <a:cubicBezTo>
                    <a:pt x="485" y="1219"/>
                    <a:pt x="487" y="1211"/>
                    <a:pt x="487" y="1202"/>
                  </a:cubicBezTo>
                  <a:cubicBezTo>
                    <a:pt x="487" y="1186"/>
                    <a:pt x="486" y="1171"/>
                    <a:pt x="485" y="1155"/>
                  </a:cubicBezTo>
                  <a:cubicBezTo>
                    <a:pt x="485" y="1153"/>
                    <a:pt x="485" y="1152"/>
                    <a:pt x="485" y="1151"/>
                  </a:cubicBezTo>
                  <a:cubicBezTo>
                    <a:pt x="484" y="1143"/>
                    <a:pt x="482" y="1135"/>
                    <a:pt x="482" y="1127"/>
                  </a:cubicBezTo>
                  <a:cubicBezTo>
                    <a:pt x="482" y="1109"/>
                    <a:pt x="482" y="1091"/>
                    <a:pt x="482" y="1073"/>
                  </a:cubicBezTo>
                  <a:cubicBezTo>
                    <a:pt x="483" y="1032"/>
                    <a:pt x="483" y="990"/>
                    <a:pt x="484" y="948"/>
                  </a:cubicBezTo>
                  <a:cubicBezTo>
                    <a:pt x="484" y="941"/>
                    <a:pt x="485" y="933"/>
                    <a:pt x="485" y="925"/>
                  </a:cubicBezTo>
                  <a:cubicBezTo>
                    <a:pt x="485" y="924"/>
                    <a:pt x="485" y="922"/>
                    <a:pt x="485" y="921"/>
                  </a:cubicBezTo>
                  <a:cubicBezTo>
                    <a:pt x="484" y="919"/>
                    <a:pt x="484" y="917"/>
                    <a:pt x="484" y="916"/>
                  </a:cubicBezTo>
                  <a:cubicBezTo>
                    <a:pt x="486" y="902"/>
                    <a:pt x="486" y="887"/>
                    <a:pt x="484" y="873"/>
                  </a:cubicBezTo>
                  <a:cubicBezTo>
                    <a:pt x="484" y="871"/>
                    <a:pt x="484" y="869"/>
                    <a:pt x="485" y="867"/>
                  </a:cubicBezTo>
                  <a:cubicBezTo>
                    <a:pt x="490" y="857"/>
                    <a:pt x="495" y="847"/>
                    <a:pt x="501" y="836"/>
                  </a:cubicBezTo>
                  <a:cubicBezTo>
                    <a:pt x="501" y="836"/>
                    <a:pt x="502" y="836"/>
                    <a:pt x="503" y="835"/>
                  </a:cubicBezTo>
                  <a:cubicBezTo>
                    <a:pt x="504" y="837"/>
                    <a:pt x="504" y="838"/>
                    <a:pt x="505" y="840"/>
                  </a:cubicBezTo>
                  <a:cubicBezTo>
                    <a:pt x="512" y="838"/>
                    <a:pt x="519" y="836"/>
                    <a:pt x="525" y="834"/>
                  </a:cubicBezTo>
                  <a:cubicBezTo>
                    <a:pt x="531" y="814"/>
                    <a:pt x="538" y="796"/>
                    <a:pt x="544" y="777"/>
                  </a:cubicBezTo>
                  <a:cubicBezTo>
                    <a:pt x="546" y="769"/>
                    <a:pt x="547" y="761"/>
                    <a:pt x="545" y="752"/>
                  </a:cubicBezTo>
                  <a:cubicBezTo>
                    <a:pt x="543" y="747"/>
                    <a:pt x="543" y="742"/>
                    <a:pt x="544" y="737"/>
                  </a:cubicBezTo>
                  <a:cubicBezTo>
                    <a:pt x="553" y="701"/>
                    <a:pt x="567" y="667"/>
                    <a:pt x="563" y="6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0"/>
              </a:endParaRPr>
            </a:p>
          </p:txBody>
        </p:sp>
        <p:sp>
          <p:nvSpPr>
            <p:cNvPr id="102" name="Freeform 8">
              <a:extLst>
                <a:ext uri="{FF2B5EF4-FFF2-40B4-BE49-F238E27FC236}">
                  <a16:creationId xmlns:a16="http://schemas.microsoft.com/office/drawing/2014/main" id="{1797C320-ECEE-41AC-A504-A284D1D0A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5275" y="2174876"/>
              <a:ext cx="1023937" cy="3121025"/>
            </a:xfrm>
            <a:custGeom>
              <a:avLst/>
              <a:gdLst>
                <a:gd name="T0" fmla="*/ 470 w 548"/>
                <a:gd name="T1" fmla="*/ 1525 h 1672"/>
                <a:gd name="T2" fmla="*/ 416 w 548"/>
                <a:gd name="T3" fmla="*/ 1497 h 1672"/>
                <a:gd name="T4" fmla="*/ 392 w 548"/>
                <a:gd name="T5" fmla="*/ 1437 h 1672"/>
                <a:gd name="T6" fmla="*/ 383 w 548"/>
                <a:gd name="T7" fmla="*/ 1265 h 1672"/>
                <a:gd name="T8" fmla="*/ 397 w 548"/>
                <a:gd name="T9" fmla="*/ 1138 h 1672"/>
                <a:gd name="T10" fmla="*/ 407 w 548"/>
                <a:gd name="T11" fmla="*/ 1002 h 1672"/>
                <a:gd name="T12" fmla="*/ 449 w 548"/>
                <a:gd name="T13" fmla="*/ 967 h 1672"/>
                <a:gd name="T14" fmla="*/ 466 w 548"/>
                <a:gd name="T15" fmla="*/ 901 h 1672"/>
                <a:gd name="T16" fmla="*/ 464 w 548"/>
                <a:gd name="T17" fmla="*/ 858 h 1672"/>
                <a:gd name="T18" fmla="*/ 463 w 548"/>
                <a:gd name="T19" fmla="*/ 702 h 1672"/>
                <a:gd name="T20" fmla="*/ 454 w 548"/>
                <a:gd name="T21" fmla="*/ 537 h 1672"/>
                <a:gd name="T22" fmla="*/ 436 w 548"/>
                <a:gd name="T23" fmla="*/ 389 h 1672"/>
                <a:gd name="T24" fmla="*/ 393 w 548"/>
                <a:gd name="T25" fmla="*/ 303 h 1672"/>
                <a:gd name="T26" fmla="*/ 309 w 548"/>
                <a:gd name="T27" fmla="*/ 262 h 1672"/>
                <a:gd name="T28" fmla="*/ 321 w 548"/>
                <a:gd name="T29" fmla="*/ 207 h 1672"/>
                <a:gd name="T30" fmla="*/ 341 w 548"/>
                <a:gd name="T31" fmla="*/ 160 h 1672"/>
                <a:gd name="T32" fmla="*/ 348 w 548"/>
                <a:gd name="T33" fmla="*/ 110 h 1672"/>
                <a:gd name="T34" fmla="*/ 341 w 548"/>
                <a:gd name="T35" fmla="*/ 79 h 1672"/>
                <a:gd name="T36" fmla="*/ 327 w 548"/>
                <a:gd name="T37" fmla="*/ 24 h 1672"/>
                <a:gd name="T38" fmla="*/ 280 w 548"/>
                <a:gd name="T39" fmla="*/ 9 h 1672"/>
                <a:gd name="T40" fmla="*/ 229 w 548"/>
                <a:gd name="T41" fmla="*/ 7 h 1672"/>
                <a:gd name="T42" fmla="*/ 200 w 548"/>
                <a:gd name="T43" fmla="*/ 24 h 1672"/>
                <a:gd name="T44" fmla="*/ 180 w 548"/>
                <a:gd name="T45" fmla="*/ 101 h 1672"/>
                <a:gd name="T46" fmla="*/ 181 w 548"/>
                <a:gd name="T47" fmla="*/ 146 h 1672"/>
                <a:gd name="T48" fmla="*/ 174 w 548"/>
                <a:gd name="T49" fmla="*/ 176 h 1672"/>
                <a:gd name="T50" fmla="*/ 197 w 548"/>
                <a:gd name="T51" fmla="*/ 210 h 1672"/>
                <a:gd name="T52" fmla="*/ 190 w 548"/>
                <a:gd name="T53" fmla="*/ 235 h 1672"/>
                <a:gd name="T54" fmla="*/ 155 w 548"/>
                <a:gd name="T55" fmla="*/ 268 h 1672"/>
                <a:gd name="T56" fmla="*/ 51 w 548"/>
                <a:gd name="T57" fmla="*/ 324 h 1672"/>
                <a:gd name="T58" fmla="*/ 21 w 548"/>
                <a:gd name="T59" fmla="*/ 427 h 1672"/>
                <a:gd name="T60" fmla="*/ 12 w 548"/>
                <a:gd name="T61" fmla="*/ 523 h 1672"/>
                <a:gd name="T62" fmla="*/ 0 w 548"/>
                <a:gd name="T63" fmla="*/ 601 h 1672"/>
                <a:gd name="T64" fmla="*/ 10 w 548"/>
                <a:gd name="T65" fmla="*/ 685 h 1672"/>
                <a:gd name="T66" fmla="*/ 49 w 548"/>
                <a:gd name="T67" fmla="*/ 800 h 1672"/>
                <a:gd name="T68" fmla="*/ 69 w 548"/>
                <a:gd name="T69" fmla="*/ 862 h 1672"/>
                <a:gd name="T70" fmla="*/ 97 w 548"/>
                <a:gd name="T71" fmla="*/ 942 h 1672"/>
                <a:gd name="T72" fmla="*/ 103 w 548"/>
                <a:gd name="T73" fmla="*/ 1090 h 1672"/>
                <a:gd name="T74" fmla="*/ 97 w 548"/>
                <a:gd name="T75" fmla="*/ 1219 h 1672"/>
                <a:gd name="T76" fmla="*/ 98 w 548"/>
                <a:gd name="T77" fmla="*/ 1270 h 1672"/>
                <a:gd name="T78" fmla="*/ 105 w 548"/>
                <a:gd name="T79" fmla="*/ 1430 h 1672"/>
                <a:gd name="T80" fmla="*/ 112 w 548"/>
                <a:gd name="T81" fmla="*/ 1552 h 1672"/>
                <a:gd name="T82" fmla="*/ 131 w 548"/>
                <a:gd name="T83" fmla="*/ 1628 h 1672"/>
                <a:gd name="T84" fmla="*/ 252 w 548"/>
                <a:gd name="T85" fmla="*/ 1648 h 1672"/>
                <a:gd name="T86" fmla="*/ 224 w 548"/>
                <a:gd name="T87" fmla="*/ 1557 h 1672"/>
                <a:gd name="T88" fmla="*/ 233 w 548"/>
                <a:gd name="T89" fmla="*/ 1452 h 1672"/>
                <a:gd name="T90" fmla="*/ 214 w 548"/>
                <a:gd name="T91" fmla="*/ 1320 h 1672"/>
                <a:gd name="T92" fmla="*/ 245 w 548"/>
                <a:gd name="T93" fmla="*/ 1202 h 1672"/>
                <a:gd name="T94" fmla="*/ 245 w 548"/>
                <a:gd name="T95" fmla="*/ 1235 h 1672"/>
                <a:gd name="T96" fmla="*/ 242 w 548"/>
                <a:gd name="T97" fmla="*/ 1340 h 1672"/>
                <a:gd name="T98" fmla="*/ 264 w 548"/>
                <a:gd name="T99" fmla="*/ 1456 h 1672"/>
                <a:gd name="T100" fmla="*/ 264 w 548"/>
                <a:gd name="T101" fmla="*/ 1545 h 1672"/>
                <a:gd name="T102" fmla="*/ 307 w 548"/>
                <a:gd name="T103" fmla="*/ 1578 h 1672"/>
                <a:gd name="T104" fmla="*/ 448 w 548"/>
                <a:gd name="T105" fmla="*/ 1585 h 1672"/>
                <a:gd name="T106" fmla="*/ 540 w 548"/>
                <a:gd name="T107" fmla="*/ 1547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48" h="1672">
                  <a:moveTo>
                    <a:pt x="529" y="1536"/>
                  </a:moveTo>
                  <a:cubicBezTo>
                    <a:pt x="522" y="1535"/>
                    <a:pt x="514" y="1532"/>
                    <a:pt x="507" y="1531"/>
                  </a:cubicBezTo>
                  <a:cubicBezTo>
                    <a:pt x="498" y="1529"/>
                    <a:pt x="489" y="1530"/>
                    <a:pt x="480" y="1528"/>
                  </a:cubicBezTo>
                  <a:cubicBezTo>
                    <a:pt x="477" y="1527"/>
                    <a:pt x="473" y="1526"/>
                    <a:pt x="470" y="1525"/>
                  </a:cubicBezTo>
                  <a:cubicBezTo>
                    <a:pt x="466" y="1525"/>
                    <a:pt x="463" y="1527"/>
                    <a:pt x="459" y="1527"/>
                  </a:cubicBezTo>
                  <a:cubicBezTo>
                    <a:pt x="454" y="1527"/>
                    <a:pt x="449" y="1525"/>
                    <a:pt x="444" y="1525"/>
                  </a:cubicBezTo>
                  <a:cubicBezTo>
                    <a:pt x="439" y="1520"/>
                    <a:pt x="435" y="1514"/>
                    <a:pt x="429" y="1510"/>
                  </a:cubicBezTo>
                  <a:cubicBezTo>
                    <a:pt x="424" y="1507"/>
                    <a:pt x="422" y="1500"/>
                    <a:pt x="416" y="1497"/>
                  </a:cubicBezTo>
                  <a:cubicBezTo>
                    <a:pt x="413" y="1492"/>
                    <a:pt x="408" y="1489"/>
                    <a:pt x="404" y="1485"/>
                  </a:cubicBezTo>
                  <a:cubicBezTo>
                    <a:pt x="400" y="1482"/>
                    <a:pt x="397" y="1479"/>
                    <a:pt x="397" y="1473"/>
                  </a:cubicBezTo>
                  <a:cubicBezTo>
                    <a:pt x="397" y="1467"/>
                    <a:pt x="396" y="1460"/>
                    <a:pt x="395" y="1454"/>
                  </a:cubicBezTo>
                  <a:cubicBezTo>
                    <a:pt x="395" y="1448"/>
                    <a:pt x="394" y="1442"/>
                    <a:pt x="392" y="1437"/>
                  </a:cubicBezTo>
                  <a:cubicBezTo>
                    <a:pt x="384" y="1423"/>
                    <a:pt x="382" y="1408"/>
                    <a:pt x="381" y="1393"/>
                  </a:cubicBezTo>
                  <a:cubicBezTo>
                    <a:pt x="379" y="1371"/>
                    <a:pt x="379" y="1348"/>
                    <a:pt x="379" y="1325"/>
                  </a:cubicBezTo>
                  <a:cubicBezTo>
                    <a:pt x="379" y="1308"/>
                    <a:pt x="380" y="1290"/>
                    <a:pt x="381" y="1272"/>
                  </a:cubicBezTo>
                  <a:cubicBezTo>
                    <a:pt x="381" y="1270"/>
                    <a:pt x="382" y="1268"/>
                    <a:pt x="383" y="1265"/>
                  </a:cubicBezTo>
                  <a:cubicBezTo>
                    <a:pt x="385" y="1258"/>
                    <a:pt x="386" y="1251"/>
                    <a:pt x="386" y="1244"/>
                  </a:cubicBezTo>
                  <a:cubicBezTo>
                    <a:pt x="386" y="1240"/>
                    <a:pt x="385" y="1235"/>
                    <a:pt x="386" y="1232"/>
                  </a:cubicBezTo>
                  <a:cubicBezTo>
                    <a:pt x="391" y="1214"/>
                    <a:pt x="391" y="1196"/>
                    <a:pt x="394" y="1179"/>
                  </a:cubicBezTo>
                  <a:cubicBezTo>
                    <a:pt x="396" y="1165"/>
                    <a:pt x="396" y="1151"/>
                    <a:pt x="397" y="1138"/>
                  </a:cubicBezTo>
                  <a:cubicBezTo>
                    <a:pt x="398" y="1122"/>
                    <a:pt x="398" y="1106"/>
                    <a:pt x="399" y="1090"/>
                  </a:cubicBezTo>
                  <a:cubicBezTo>
                    <a:pt x="399" y="1084"/>
                    <a:pt x="399" y="1078"/>
                    <a:pt x="399" y="1072"/>
                  </a:cubicBezTo>
                  <a:cubicBezTo>
                    <a:pt x="398" y="1059"/>
                    <a:pt x="401" y="1047"/>
                    <a:pt x="403" y="1035"/>
                  </a:cubicBezTo>
                  <a:cubicBezTo>
                    <a:pt x="404" y="1024"/>
                    <a:pt x="406" y="1013"/>
                    <a:pt x="407" y="1002"/>
                  </a:cubicBezTo>
                  <a:cubicBezTo>
                    <a:pt x="407" y="1001"/>
                    <a:pt x="407" y="1000"/>
                    <a:pt x="408" y="999"/>
                  </a:cubicBezTo>
                  <a:cubicBezTo>
                    <a:pt x="410" y="999"/>
                    <a:pt x="412" y="999"/>
                    <a:pt x="412" y="999"/>
                  </a:cubicBezTo>
                  <a:cubicBezTo>
                    <a:pt x="416" y="995"/>
                    <a:pt x="418" y="993"/>
                    <a:pt x="421" y="991"/>
                  </a:cubicBezTo>
                  <a:cubicBezTo>
                    <a:pt x="431" y="984"/>
                    <a:pt x="441" y="976"/>
                    <a:pt x="449" y="967"/>
                  </a:cubicBezTo>
                  <a:cubicBezTo>
                    <a:pt x="455" y="962"/>
                    <a:pt x="458" y="956"/>
                    <a:pt x="459" y="949"/>
                  </a:cubicBezTo>
                  <a:cubicBezTo>
                    <a:pt x="461" y="940"/>
                    <a:pt x="463" y="931"/>
                    <a:pt x="467" y="923"/>
                  </a:cubicBezTo>
                  <a:cubicBezTo>
                    <a:pt x="469" y="919"/>
                    <a:pt x="469" y="915"/>
                    <a:pt x="467" y="910"/>
                  </a:cubicBezTo>
                  <a:cubicBezTo>
                    <a:pt x="466" y="907"/>
                    <a:pt x="466" y="904"/>
                    <a:pt x="466" y="901"/>
                  </a:cubicBezTo>
                  <a:cubicBezTo>
                    <a:pt x="465" y="899"/>
                    <a:pt x="465" y="897"/>
                    <a:pt x="464" y="895"/>
                  </a:cubicBezTo>
                  <a:cubicBezTo>
                    <a:pt x="463" y="891"/>
                    <a:pt x="462" y="887"/>
                    <a:pt x="460" y="883"/>
                  </a:cubicBezTo>
                  <a:cubicBezTo>
                    <a:pt x="467" y="880"/>
                    <a:pt x="466" y="875"/>
                    <a:pt x="465" y="870"/>
                  </a:cubicBezTo>
                  <a:cubicBezTo>
                    <a:pt x="465" y="866"/>
                    <a:pt x="464" y="862"/>
                    <a:pt x="464" y="858"/>
                  </a:cubicBezTo>
                  <a:cubicBezTo>
                    <a:pt x="464" y="855"/>
                    <a:pt x="466" y="851"/>
                    <a:pt x="466" y="848"/>
                  </a:cubicBezTo>
                  <a:cubicBezTo>
                    <a:pt x="465" y="837"/>
                    <a:pt x="467" y="827"/>
                    <a:pt x="466" y="816"/>
                  </a:cubicBezTo>
                  <a:cubicBezTo>
                    <a:pt x="464" y="796"/>
                    <a:pt x="466" y="775"/>
                    <a:pt x="464" y="755"/>
                  </a:cubicBezTo>
                  <a:cubicBezTo>
                    <a:pt x="463" y="737"/>
                    <a:pt x="464" y="720"/>
                    <a:pt x="463" y="702"/>
                  </a:cubicBezTo>
                  <a:cubicBezTo>
                    <a:pt x="461" y="678"/>
                    <a:pt x="463" y="654"/>
                    <a:pt x="461" y="630"/>
                  </a:cubicBezTo>
                  <a:cubicBezTo>
                    <a:pt x="460" y="618"/>
                    <a:pt x="460" y="606"/>
                    <a:pt x="459" y="593"/>
                  </a:cubicBezTo>
                  <a:cubicBezTo>
                    <a:pt x="459" y="586"/>
                    <a:pt x="458" y="579"/>
                    <a:pt x="457" y="572"/>
                  </a:cubicBezTo>
                  <a:cubicBezTo>
                    <a:pt x="456" y="561"/>
                    <a:pt x="455" y="549"/>
                    <a:pt x="454" y="537"/>
                  </a:cubicBezTo>
                  <a:cubicBezTo>
                    <a:pt x="454" y="529"/>
                    <a:pt x="453" y="520"/>
                    <a:pt x="452" y="511"/>
                  </a:cubicBezTo>
                  <a:cubicBezTo>
                    <a:pt x="451" y="498"/>
                    <a:pt x="449" y="486"/>
                    <a:pt x="448" y="473"/>
                  </a:cubicBezTo>
                  <a:cubicBezTo>
                    <a:pt x="447" y="463"/>
                    <a:pt x="446" y="452"/>
                    <a:pt x="444" y="442"/>
                  </a:cubicBezTo>
                  <a:cubicBezTo>
                    <a:pt x="442" y="424"/>
                    <a:pt x="439" y="407"/>
                    <a:pt x="436" y="389"/>
                  </a:cubicBezTo>
                  <a:cubicBezTo>
                    <a:pt x="436" y="385"/>
                    <a:pt x="435" y="381"/>
                    <a:pt x="435" y="377"/>
                  </a:cubicBezTo>
                  <a:cubicBezTo>
                    <a:pt x="434" y="363"/>
                    <a:pt x="432" y="349"/>
                    <a:pt x="429" y="335"/>
                  </a:cubicBezTo>
                  <a:cubicBezTo>
                    <a:pt x="427" y="325"/>
                    <a:pt x="423" y="316"/>
                    <a:pt x="411" y="312"/>
                  </a:cubicBezTo>
                  <a:cubicBezTo>
                    <a:pt x="405" y="310"/>
                    <a:pt x="399" y="306"/>
                    <a:pt x="393" y="303"/>
                  </a:cubicBezTo>
                  <a:cubicBezTo>
                    <a:pt x="379" y="296"/>
                    <a:pt x="366" y="288"/>
                    <a:pt x="352" y="281"/>
                  </a:cubicBezTo>
                  <a:cubicBezTo>
                    <a:pt x="345" y="278"/>
                    <a:pt x="337" y="275"/>
                    <a:pt x="330" y="272"/>
                  </a:cubicBezTo>
                  <a:cubicBezTo>
                    <a:pt x="325" y="270"/>
                    <a:pt x="319" y="269"/>
                    <a:pt x="314" y="267"/>
                  </a:cubicBezTo>
                  <a:cubicBezTo>
                    <a:pt x="312" y="265"/>
                    <a:pt x="310" y="264"/>
                    <a:pt x="309" y="262"/>
                  </a:cubicBezTo>
                  <a:cubicBezTo>
                    <a:pt x="308" y="260"/>
                    <a:pt x="308" y="258"/>
                    <a:pt x="308" y="256"/>
                  </a:cubicBezTo>
                  <a:cubicBezTo>
                    <a:pt x="309" y="253"/>
                    <a:pt x="311" y="249"/>
                    <a:pt x="310" y="246"/>
                  </a:cubicBezTo>
                  <a:cubicBezTo>
                    <a:pt x="309" y="237"/>
                    <a:pt x="313" y="230"/>
                    <a:pt x="313" y="222"/>
                  </a:cubicBezTo>
                  <a:cubicBezTo>
                    <a:pt x="313" y="216"/>
                    <a:pt x="319" y="212"/>
                    <a:pt x="321" y="207"/>
                  </a:cubicBezTo>
                  <a:cubicBezTo>
                    <a:pt x="322" y="205"/>
                    <a:pt x="323" y="203"/>
                    <a:pt x="324" y="202"/>
                  </a:cubicBezTo>
                  <a:cubicBezTo>
                    <a:pt x="328" y="198"/>
                    <a:pt x="329" y="193"/>
                    <a:pt x="328" y="188"/>
                  </a:cubicBezTo>
                  <a:cubicBezTo>
                    <a:pt x="327" y="185"/>
                    <a:pt x="326" y="182"/>
                    <a:pt x="328" y="178"/>
                  </a:cubicBezTo>
                  <a:cubicBezTo>
                    <a:pt x="337" y="174"/>
                    <a:pt x="341" y="169"/>
                    <a:pt x="341" y="160"/>
                  </a:cubicBezTo>
                  <a:cubicBezTo>
                    <a:pt x="342" y="155"/>
                    <a:pt x="342" y="151"/>
                    <a:pt x="342" y="146"/>
                  </a:cubicBezTo>
                  <a:cubicBezTo>
                    <a:pt x="342" y="143"/>
                    <a:pt x="342" y="141"/>
                    <a:pt x="343" y="138"/>
                  </a:cubicBezTo>
                  <a:cubicBezTo>
                    <a:pt x="346" y="130"/>
                    <a:pt x="345" y="122"/>
                    <a:pt x="349" y="114"/>
                  </a:cubicBezTo>
                  <a:cubicBezTo>
                    <a:pt x="349" y="113"/>
                    <a:pt x="349" y="111"/>
                    <a:pt x="348" y="110"/>
                  </a:cubicBezTo>
                  <a:cubicBezTo>
                    <a:pt x="346" y="103"/>
                    <a:pt x="348" y="95"/>
                    <a:pt x="344" y="89"/>
                  </a:cubicBezTo>
                  <a:cubicBezTo>
                    <a:pt x="344" y="89"/>
                    <a:pt x="344" y="89"/>
                    <a:pt x="344" y="88"/>
                  </a:cubicBezTo>
                  <a:cubicBezTo>
                    <a:pt x="344" y="87"/>
                    <a:pt x="345" y="86"/>
                    <a:pt x="346" y="85"/>
                  </a:cubicBezTo>
                  <a:cubicBezTo>
                    <a:pt x="344" y="83"/>
                    <a:pt x="343" y="82"/>
                    <a:pt x="341" y="79"/>
                  </a:cubicBezTo>
                  <a:cubicBezTo>
                    <a:pt x="343" y="80"/>
                    <a:pt x="344" y="80"/>
                    <a:pt x="345" y="81"/>
                  </a:cubicBezTo>
                  <a:cubicBezTo>
                    <a:pt x="347" y="74"/>
                    <a:pt x="347" y="68"/>
                    <a:pt x="343" y="61"/>
                  </a:cubicBezTo>
                  <a:cubicBezTo>
                    <a:pt x="340" y="56"/>
                    <a:pt x="338" y="51"/>
                    <a:pt x="336" y="46"/>
                  </a:cubicBezTo>
                  <a:cubicBezTo>
                    <a:pt x="333" y="38"/>
                    <a:pt x="331" y="31"/>
                    <a:pt x="327" y="24"/>
                  </a:cubicBezTo>
                  <a:cubicBezTo>
                    <a:pt x="322" y="16"/>
                    <a:pt x="316" y="11"/>
                    <a:pt x="307" y="10"/>
                  </a:cubicBezTo>
                  <a:cubicBezTo>
                    <a:pt x="301" y="9"/>
                    <a:pt x="295" y="8"/>
                    <a:pt x="289" y="7"/>
                  </a:cubicBezTo>
                  <a:cubicBezTo>
                    <a:pt x="287" y="8"/>
                    <a:pt x="285" y="9"/>
                    <a:pt x="283" y="10"/>
                  </a:cubicBezTo>
                  <a:cubicBezTo>
                    <a:pt x="282" y="9"/>
                    <a:pt x="281" y="9"/>
                    <a:pt x="280" y="9"/>
                  </a:cubicBezTo>
                  <a:cubicBezTo>
                    <a:pt x="270" y="1"/>
                    <a:pt x="258" y="0"/>
                    <a:pt x="246" y="3"/>
                  </a:cubicBezTo>
                  <a:cubicBezTo>
                    <a:pt x="243" y="4"/>
                    <a:pt x="239" y="5"/>
                    <a:pt x="235" y="4"/>
                  </a:cubicBezTo>
                  <a:cubicBezTo>
                    <a:pt x="231" y="3"/>
                    <a:pt x="227" y="4"/>
                    <a:pt x="223" y="6"/>
                  </a:cubicBezTo>
                  <a:cubicBezTo>
                    <a:pt x="225" y="7"/>
                    <a:pt x="227" y="7"/>
                    <a:pt x="229" y="7"/>
                  </a:cubicBezTo>
                  <a:cubicBezTo>
                    <a:pt x="229" y="8"/>
                    <a:pt x="229" y="8"/>
                    <a:pt x="229" y="9"/>
                  </a:cubicBezTo>
                  <a:cubicBezTo>
                    <a:pt x="224" y="9"/>
                    <a:pt x="220" y="9"/>
                    <a:pt x="214" y="10"/>
                  </a:cubicBezTo>
                  <a:cubicBezTo>
                    <a:pt x="211" y="12"/>
                    <a:pt x="208" y="16"/>
                    <a:pt x="204" y="19"/>
                  </a:cubicBezTo>
                  <a:cubicBezTo>
                    <a:pt x="203" y="21"/>
                    <a:pt x="201" y="22"/>
                    <a:pt x="200" y="24"/>
                  </a:cubicBezTo>
                  <a:cubicBezTo>
                    <a:pt x="193" y="33"/>
                    <a:pt x="192" y="43"/>
                    <a:pt x="188" y="52"/>
                  </a:cubicBezTo>
                  <a:cubicBezTo>
                    <a:pt x="186" y="58"/>
                    <a:pt x="187" y="64"/>
                    <a:pt x="184" y="69"/>
                  </a:cubicBezTo>
                  <a:cubicBezTo>
                    <a:pt x="181" y="75"/>
                    <a:pt x="182" y="81"/>
                    <a:pt x="180" y="86"/>
                  </a:cubicBezTo>
                  <a:cubicBezTo>
                    <a:pt x="179" y="90"/>
                    <a:pt x="178" y="96"/>
                    <a:pt x="180" y="101"/>
                  </a:cubicBezTo>
                  <a:cubicBezTo>
                    <a:pt x="180" y="103"/>
                    <a:pt x="179" y="107"/>
                    <a:pt x="178" y="109"/>
                  </a:cubicBezTo>
                  <a:cubicBezTo>
                    <a:pt x="175" y="114"/>
                    <a:pt x="173" y="119"/>
                    <a:pt x="178" y="124"/>
                  </a:cubicBezTo>
                  <a:cubicBezTo>
                    <a:pt x="178" y="125"/>
                    <a:pt x="178" y="126"/>
                    <a:pt x="178" y="127"/>
                  </a:cubicBezTo>
                  <a:cubicBezTo>
                    <a:pt x="179" y="133"/>
                    <a:pt x="180" y="140"/>
                    <a:pt x="181" y="146"/>
                  </a:cubicBezTo>
                  <a:cubicBezTo>
                    <a:pt x="182" y="153"/>
                    <a:pt x="182" y="159"/>
                    <a:pt x="182" y="165"/>
                  </a:cubicBezTo>
                  <a:cubicBezTo>
                    <a:pt x="181" y="169"/>
                    <a:pt x="181" y="172"/>
                    <a:pt x="182" y="175"/>
                  </a:cubicBezTo>
                  <a:cubicBezTo>
                    <a:pt x="184" y="178"/>
                    <a:pt x="186" y="182"/>
                    <a:pt x="188" y="186"/>
                  </a:cubicBezTo>
                  <a:cubicBezTo>
                    <a:pt x="182" y="184"/>
                    <a:pt x="178" y="180"/>
                    <a:pt x="174" y="176"/>
                  </a:cubicBezTo>
                  <a:cubicBezTo>
                    <a:pt x="175" y="186"/>
                    <a:pt x="182" y="190"/>
                    <a:pt x="191" y="192"/>
                  </a:cubicBezTo>
                  <a:cubicBezTo>
                    <a:pt x="190" y="196"/>
                    <a:pt x="186" y="199"/>
                    <a:pt x="187" y="204"/>
                  </a:cubicBezTo>
                  <a:cubicBezTo>
                    <a:pt x="189" y="203"/>
                    <a:pt x="191" y="202"/>
                    <a:pt x="192" y="201"/>
                  </a:cubicBezTo>
                  <a:cubicBezTo>
                    <a:pt x="194" y="205"/>
                    <a:pt x="195" y="208"/>
                    <a:pt x="197" y="210"/>
                  </a:cubicBezTo>
                  <a:cubicBezTo>
                    <a:pt x="199" y="213"/>
                    <a:pt x="202" y="216"/>
                    <a:pt x="201" y="219"/>
                  </a:cubicBezTo>
                  <a:cubicBezTo>
                    <a:pt x="201" y="223"/>
                    <a:pt x="199" y="225"/>
                    <a:pt x="196" y="228"/>
                  </a:cubicBezTo>
                  <a:cubicBezTo>
                    <a:pt x="196" y="228"/>
                    <a:pt x="196" y="229"/>
                    <a:pt x="195" y="229"/>
                  </a:cubicBezTo>
                  <a:cubicBezTo>
                    <a:pt x="193" y="231"/>
                    <a:pt x="191" y="233"/>
                    <a:pt x="190" y="235"/>
                  </a:cubicBezTo>
                  <a:cubicBezTo>
                    <a:pt x="188" y="238"/>
                    <a:pt x="186" y="241"/>
                    <a:pt x="184" y="243"/>
                  </a:cubicBezTo>
                  <a:cubicBezTo>
                    <a:pt x="181" y="247"/>
                    <a:pt x="177" y="250"/>
                    <a:pt x="174" y="253"/>
                  </a:cubicBezTo>
                  <a:cubicBezTo>
                    <a:pt x="171" y="256"/>
                    <a:pt x="167" y="259"/>
                    <a:pt x="164" y="261"/>
                  </a:cubicBezTo>
                  <a:cubicBezTo>
                    <a:pt x="161" y="263"/>
                    <a:pt x="158" y="266"/>
                    <a:pt x="155" y="268"/>
                  </a:cubicBezTo>
                  <a:cubicBezTo>
                    <a:pt x="145" y="274"/>
                    <a:pt x="134" y="280"/>
                    <a:pt x="123" y="285"/>
                  </a:cubicBezTo>
                  <a:cubicBezTo>
                    <a:pt x="115" y="290"/>
                    <a:pt x="106" y="294"/>
                    <a:pt x="98" y="298"/>
                  </a:cubicBezTo>
                  <a:cubicBezTo>
                    <a:pt x="92" y="301"/>
                    <a:pt x="87" y="303"/>
                    <a:pt x="82" y="306"/>
                  </a:cubicBezTo>
                  <a:cubicBezTo>
                    <a:pt x="71" y="312"/>
                    <a:pt x="61" y="319"/>
                    <a:pt x="51" y="324"/>
                  </a:cubicBezTo>
                  <a:cubicBezTo>
                    <a:pt x="44" y="327"/>
                    <a:pt x="40" y="331"/>
                    <a:pt x="36" y="338"/>
                  </a:cubicBezTo>
                  <a:cubicBezTo>
                    <a:pt x="29" y="350"/>
                    <a:pt x="26" y="364"/>
                    <a:pt x="23" y="378"/>
                  </a:cubicBezTo>
                  <a:cubicBezTo>
                    <a:pt x="21" y="389"/>
                    <a:pt x="21" y="399"/>
                    <a:pt x="24" y="409"/>
                  </a:cubicBezTo>
                  <a:cubicBezTo>
                    <a:pt x="26" y="416"/>
                    <a:pt x="24" y="421"/>
                    <a:pt x="21" y="427"/>
                  </a:cubicBezTo>
                  <a:cubicBezTo>
                    <a:pt x="19" y="431"/>
                    <a:pt x="16" y="435"/>
                    <a:pt x="15" y="439"/>
                  </a:cubicBezTo>
                  <a:cubicBezTo>
                    <a:pt x="12" y="449"/>
                    <a:pt x="12" y="458"/>
                    <a:pt x="15" y="468"/>
                  </a:cubicBezTo>
                  <a:cubicBezTo>
                    <a:pt x="16" y="475"/>
                    <a:pt x="18" y="483"/>
                    <a:pt x="19" y="490"/>
                  </a:cubicBezTo>
                  <a:cubicBezTo>
                    <a:pt x="11" y="499"/>
                    <a:pt x="10" y="511"/>
                    <a:pt x="12" y="523"/>
                  </a:cubicBezTo>
                  <a:cubicBezTo>
                    <a:pt x="13" y="530"/>
                    <a:pt x="13" y="537"/>
                    <a:pt x="10" y="544"/>
                  </a:cubicBezTo>
                  <a:cubicBezTo>
                    <a:pt x="10" y="546"/>
                    <a:pt x="9" y="548"/>
                    <a:pt x="9" y="550"/>
                  </a:cubicBezTo>
                  <a:cubicBezTo>
                    <a:pt x="8" y="560"/>
                    <a:pt x="5" y="569"/>
                    <a:pt x="3" y="579"/>
                  </a:cubicBezTo>
                  <a:cubicBezTo>
                    <a:pt x="2" y="586"/>
                    <a:pt x="1" y="594"/>
                    <a:pt x="0" y="601"/>
                  </a:cubicBezTo>
                  <a:cubicBezTo>
                    <a:pt x="0" y="609"/>
                    <a:pt x="1" y="616"/>
                    <a:pt x="2" y="624"/>
                  </a:cubicBezTo>
                  <a:cubicBezTo>
                    <a:pt x="2" y="625"/>
                    <a:pt x="1" y="627"/>
                    <a:pt x="1" y="629"/>
                  </a:cubicBezTo>
                  <a:cubicBezTo>
                    <a:pt x="1" y="638"/>
                    <a:pt x="1" y="648"/>
                    <a:pt x="1" y="658"/>
                  </a:cubicBezTo>
                  <a:cubicBezTo>
                    <a:pt x="2" y="667"/>
                    <a:pt x="5" y="676"/>
                    <a:pt x="10" y="685"/>
                  </a:cubicBezTo>
                  <a:cubicBezTo>
                    <a:pt x="11" y="689"/>
                    <a:pt x="12" y="693"/>
                    <a:pt x="13" y="697"/>
                  </a:cubicBezTo>
                  <a:cubicBezTo>
                    <a:pt x="18" y="710"/>
                    <a:pt x="22" y="722"/>
                    <a:pt x="27" y="735"/>
                  </a:cubicBezTo>
                  <a:cubicBezTo>
                    <a:pt x="32" y="749"/>
                    <a:pt x="40" y="763"/>
                    <a:pt x="43" y="778"/>
                  </a:cubicBezTo>
                  <a:cubicBezTo>
                    <a:pt x="45" y="785"/>
                    <a:pt x="48" y="793"/>
                    <a:pt x="49" y="800"/>
                  </a:cubicBezTo>
                  <a:cubicBezTo>
                    <a:pt x="49" y="808"/>
                    <a:pt x="52" y="815"/>
                    <a:pt x="56" y="821"/>
                  </a:cubicBezTo>
                  <a:cubicBezTo>
                    <a:pt x="58" y="824"/>
                    <a:pt x="60" y="826"/>
                    <a:pt x="61" y="828"/>
                  </a:cubicBezTo>
                  <a:cubicBezTo>
                    <a:pt x="62" y="834"/>
                    <a:pt x="62" y="839"/>
                    <a:pt x="64" y="843"/>
                  </a:cubicBezTo>
                  <a:cubicBezTo>
                    <a:pt x="68" y="849"/>
                    <a:pt x="69" y="855"/>
                    <a:pt x="69" y="862"/>
                  </a:cubicBezTo>
                  <a:cubicBezTo>
                    <a:pt x="68" y="883"/>
                    <a:pt x="68" y="904"/>
                    <a:pt x="67" y="925"/>
                  </a:cubicBezTo>
                  <a:cubicBezTo>
                    <a:pt x="67" y="930"/>
                    <a:pt x="66" y="936"/>
                    <a:pt x="66" y="941"/>
                  </a:cubicBezTo>
                  <a:cubicBezTo>
                    <a:pt x="66" y="943"/>
                    <a:pt x="66" y="945"/>
                    <a:pt x="66" y="948"/>
                  </a:cubicBezTo>
                  <a:cubicBezTo>
                    <a:pt x="77" y="946"/>
                    <a:pt x="87" y="944"/>
                    <a:pt x="97" y="942"/>
                  </a:cubicBezTo>
                  <a:cubicBezTo>
                    <a:pt x="98" y="959"/>
                    <a:pt x="99" y="976"/>
                    <a:pt x="100" y="992"/>
                  </a:cubicBezTo>
                  <a:cubicBezTo>
                    <a:pt x="100" y="1014"/>
                    <a:pt x="99" y="1037"/>
                    <a:pt x="101" y="1059"/>
                  </a:cubicBezTo>
                  <a:cubicBezTo>
                    <a:pt x="102" y="1060"/>
                    <a:pt x="101" y="1060"/>
                    <a:pt x="102" y="1061"/>
                  </a:cubicBezTo>
                  <a:cubicBezTo>
                    <a:pt x="104" y="1071"/>
                    <a:pt x="105" y="1080"/>
                    <a:pt x="103" y="1090"/>
                  </a:cubicBezTo>
                  <a:cubicBezTo>
                    <a:pt x="103" y="1093"/>
                    <a:pt x="102" y="1097"/>
                    <a:pt x="102" y="1100"/>
                  </a:cubicBezTo>
                  <a:cubicBezTo>
                    <a:pt x="101" y="1108"/>
                    <a:pt x="100" y="1115"/>
                    <a:pt x="100" y="1122"/>
                  </a:cubicBezTo>
                  <a:cubicBezTo>
                    <a:pt x="99" y="1136"/>
                    <a:pt x="97" y="1149"/>
                    <a:pt x="97" y="1162"/>
                  </a:cubicBezTo>
                  <a:cubicBezTo>
                    <a:pt x="96" y="1181"/>
                    <a:pt x="96" y="1200"/>
                    <a:pt x="97" y="1219"/>
                  </a:cubicBezTo>
                  <a:cubicBezTo>
                    <a:pt x="97" y="1224"/>
                    <a:pt x="98" y="1230"/>
                    <a:pt x="98" y="1236"/>
                  </a:cubicBezTo>
                  <a:cubicBezTo>
                    <a:pt x="98" y="1238"/>
                    <a:pt x="98" y="1241"/>
                    <a:pt x="98" y="1244"/>
                  </a:cubicBezTo>
                  <a:cubicBezTo>
                    <a:pt x="98" y="1248"/>
                    <a:pt x="97" y="1252"/>
                    <a:pt x="97" y="1257"/>
                  </a:cubicBezTo>
                  <a:cubicBezTo>
                    <a:pt x="97" y="1261"/>
                    <a:pt x="98" y="1265"/>
                    <a:pt x="98" y="1270"/>
                  </a:cubicBezTo>
                  <a:cubicBezTo>
                    <a:pt x="99" y="1281"/>
                    <a:pt x="99" y="1293"/>
                    <a:pt x="99" y="1305"/>
                  </a:cubicBezTo>
                  <a:cubicBezTo>
                    <a:pt x="101" y="1327"/>
                    <a:pt x="101" y="1349"/>
                    <a:pt x="101" y="1371"/>
                  </a:cubicBezTo>
                  <a:cubicBezTo>
                    <a:pt x="102" y="1379"/>
                    <a:pt x="101" y="1387"/>
                    <a:pt x="102" y="1396"/>
                  </a:cubicBezTo>
                  <a:cubicBezTo>
                    <a:pt x="102" y="1407"/>
                    <a:pt x="104" y="1419"/>
                    <a:pt x="105" y="1430"/>
                  </a:cubicBezTo>
                  <a:cubicBezTo>
                    <a:pt x="105" y="1444"/>
                    <a:pt x="106" y="1458"/>
                    <a:pt x="111" y="1471"/>
                  </a:cubicBezTo>
                  <a:cubicBezTo>
                    <a:pt x="114" y="1481"/>
                    <a:pt x="116" y="1492"/>
                    <a:pt x="114" y="1503"/>
                  </a:cubicBezTo>
                  <a:cubicBezTo>
                    <a:pt x="110" y="1506"/>
                    <a:pt x="105" y="1509"/>
                    <a:pt x="105" y="1515"/>
                  </a:cubicBezTo>
                  <a:cubicBezTo>
                    <a:pt x="104" y="1528"/>
                    <a:pt x="105" y="1540"/>
                    <a:pt x="112" y="1552"/>
                  </a:cubicBezTo>
                  <a:cubicBezTo>
                    <a:pt x="116" y="1559"/>
                    <a:pt x="121" y="1567"/>
                    <a:pt x="123" y="1575"/>
                  </a:cubicBezTo>
                  <a:cubicBezTo>
                    <a:pt x="125" y="1583"/>
                    <a:pt x="126" y="1590"/>
                    <a:pt x="121" y="1598"/>
                  </a:cubicBezTo>
                  <a:cubicBezTo>
                    <a:pt x="118" y="1603"/>
                    <a:pt x="118" y="1610"/>
                    <a:pt x="124" y="1615"/>
                  </a:cubicBezTo>
                  <a:cubicBezTo>
                    <a:pt x="128" y="1618"/>
                    <a:pt x="130" y="1623"/>
                    <a:pt x="131" y="1628"/>
                  </a:cubicBezTo>
                  <a:cubicBezTo>
                    <a:pt x="132" y="1638"/>
                    <a:pt x="138" y="1645"/>
                    <a:pt x="147" y="1648"/>
                  </a:cubicBezTo>
                  <a:cubicBezTo>
                    <a:pt x="163" y="1655"/>
                    <a:pt x="179" y="1661"/>
                    <a:pt x="195" y="1667"/>
                  </a:cubicBezTo>
                  <a:cubicBezTo>
                    <a:pt x="204" y="1670"/>
                    <a:pt x="215" y="1672"/>
                    <a:pt x="225" y="1672"/>
                  </a:cubicBezTo>
                  <a:cubicBezTo>
                    <a:pt x="237" y="1671"/>
                    <a:pt x="248" y="1659"/>
                    <a:pt x="252" y="1648"/>
                  </a:cubicBezTo>
                  <a:cubicBezTo>
                    <a:pt x="255" y="1639"/>
                    <a:pt x="246" y="1630"/>
                    <a:pt x="247" y="1621"/>
                  </a:cubicBezTo>
                  <a:cubicBezTo>
                    <a:pt x="247" y="1616"/>
                    <a:pt x="245" y="1611"/>
                    <a:pt x="243" y="1607"/>
                  </a:cubicBezTo>
                  <a:cubicBezTo>
                    <a:pt x="236" y="1593"/>
                    <a:pt x="228" y="1580"/>
                    <a:pt x="221" y="1566"/>
                  </a:cubicBezTo>
                  <a:cubicBezTo>
                    <a:pt x="222" y="1563"/>
                    <a:pt x="223" y="1560"/>
                    <a:pt x="224" y="1557"/>
                  </a:cubicBezTo>
                  <a:cubicBezTo>
                    <a:pt x="227" y="1551"/>
                    <a:pt x="229" y="1546"/>
                    <a:pt x="231" y="1540"/>
                  </a:cubicBezTo>
                  <a:cubicBezTo>
                    <a:pt x="235" y="1531"/>
                    <a:pt x="238" y="1522"/>
                    <a:pt x="241" y="1513"/>
                  </a:cubicBezTo>
                  <a:cubicBezTo>
                    <a:pt x="244" y="1507"/>
                    <a:pt x="245" y="1502"/>
                    <a:pt x="244" y="1496"/>
                  </a:cubicBezTo>
                  <a:cubicBezTo>
                    <a:pt x="241" y="1481"/>
                    <a:pt x="238" y="1466"/>
                    <a:pt x="233" y="1452"/>
                  </a:cubicBezTo>
                  <a:cubicBezTo>
                    <a:pt x="231" y="1447"/>
                    <a:pt x="229" y="1443"/>
                    <a:pt x="225" y="1439"/>
                  </a:cubicBezTo>
                  <a:cubicBezTo>
                    <a:pt x="217" y="1430"/>
                    <a:pt x="210" y="1421"/>
                    <a:pt x="206" y="1409"/>
                  </a:cubicBezTo>
                  <a:cubicBezTo>
                    <a:pt x="211" y="1393"/>
                    <a:pt x="213" y="1376"/>
                    <a:pt x="213" y="1359"/>
                  </a:cubicBezTo>
                  <a:cubicBezTo>
                    <a:pt x="213" y="1346"/>
                    <a:pt x="212" y="1334"/>
                    <a:pt x="214" y="1320"/>
                  </a:cubicBezTo>
                  <a:cubicBezTo>
                    <a:pt x="216" y="1312"/>
                    <a:pt x="215" y="1303"/>
                    <a:pt x="216" y="1294"/>
                  </a:cubicBezTo>
                  <a:cubicBezTo>
                    <a:pt x="217" y="1286"/>
                    <a:pt x="218" y="1280"/>
                    <a:pt x="222" y="1273"/>
                  </a:cubicBezTo>
                  <a:cubicBezTo>
                    <a:pt x="231" y="1255"/>
                    <a:pt x="236" y="1235"/>
                    <a:pt x="241" y="1216"/>
                  </a:cubicBezTo>
                  <a:cubicBezTo>
                    <a:pt x="242" y="1211"/>
                    <a:pt x="243" y="1207"/>
                    <a:pt x="245" y="1202"/>
                  </a:cubicBezTo>
                  <a:cubicBezTo>
                    <a:pt x="245" y="1202"/>
                    <a:pt x="246" y="1202"/>
                    <a:pt x="246" y="1202"/>
                  </a:cubicBezTo>
                  <a:cubicBezTo>
                    <a:pt x="247" y="1208"/>
                    <a:pt x="247" y="1214"/>
                    <a:pt x="246" y="1221"/>
                  </a:cubicBezTo>
                  <a:cubicBezTo>
                    <a:pt x="246" y="1224"/>
                    <a:pt x="246" y="1226"/>
                    <a:pt x="246" y="1229"/>
                  </a:cubicBezTo>
                  <a:cubicBezTo>
                    <a:pt x="245" y="1231"/>
                    <a:pt x="245" y="1233"/>
                    <a:pt x="245" y="1235"/>
                  </a:cubicBezTo>
                  <a:cubicBezTo>
                    <a:pt x="245" y="1243"/>
                    <a:pt x="244" y="1252"/>
                    <a:pt x="244" y="1260"/>
                  </a:cubicBezTo>
                  <a:cubicBezTo>
                    <a:pt x="243" y="1266"/>
                    <a:pt x="245" y="1272"/>
                    <a:pt x="245" y="1278"/>
                  </a:cubicBezTo>
                  <a:cubicBezTo>
                    <a:pt x="245" y="1287"/>
                    <a:pt x="247" y="1297"/>
                    <a:pt x="242" y="1306"/>
                  </a:cubicBezTo>
                  <a:cubicBezTo>
                    <a:pt x="242" y="1318"/>
                    <a:pt x="241" y="1329"/>
                    <a:pt x="242" y="1340"/>
                  </a:cubicBezTo>
                  <a:cubicBezTo>
                    <a:pt x="243" y="1354"/>
                    <a:pt x="246" y="1368"/>
                    <a:pt x="246" y="1381"/>
                  </a:cubicBezTo>
                  <a:cubicBezTo>
                    <a:pt x="248" y="1397"/>
                    <a:pt x="252" y="1412"/>
                    <a:pt x="259" y="1426"/>
                  </a:cubicBezTo>
                  <a:cubicBezTo>
                    <a:pt x="263" y="1434"/>
                    <a:pt x="265" y="1441"/>
                    <a:pt x="265" y="1450"/>
                  </a:cubicBezTo>
                  <a:cubicBezTo>
                    <a:pt x="264" y="1452"/>
                    <a:pt x="264" y="1454"/>
                    <a:pt x="264" y="1456"/>
                  </a:cubicBezTo>
                  <a:cubicBezTo>
                    <a:pt x="263" y="1460"/>
                    <a:pt x="263" y="1464"/>
                    <a:pt x="263" y="1468"/>
                  </a:cubicBezTo>
                  <a:cubicBezTo>
                    <a:pt x="264" y="1479"/>
                    <a:pt x="266" y="1490"/>
                    <a:pt x="266" y="1500"/>
                  </a:cubicBezTo>
                  <a:cubicBezTo>
                    <a:pt x="267" y="1509"/>
                    <a:pt x="266" y="1518"/>
                    <a:pt x="266" y="1526"/>
                  </a:cubicBezTo>
                  <a:cubicBezTo>
                    <a:pt x="266" y="1533"/>
                    <a:pt x="267" y="1539"/>
                    <a:pt x="264" y="1545"/>
                  </a:cubicBezTo>
                  <a:cubicBezTo>
                    <a:pt x="263" y="1546"/>
                    <a:pt x="263" y="1549"/>
                    <a:pt x="263" y="1551"/>
                  </a:cubicBezTo>
                  <a:cubicBezTo>
                    <a:pt x="263" y="1554"/>
                    <a:pt x="263" y="1557"/>
                    <a:pt x="262" y="1559"/>
                  </a:cubicBezTo>
                  <a:cubicBezTo>
                    <a:pt x="259" y="1567"/>
                    <a:pt x="265" y="1571"/>
                    <a:pt x="271" y="1573"/>
                  </a:cubicBezTo>
                  <a:cubicBezTo>
                    <a:pt x="283" y="1576"/>
                    <a:pt x="295" y="1577"/>
                    <a:pt x="307" y="1578"/>
                  </a:cubicBezTo>
                  <a:cubicBezTo>
                    <a:pt x="324" y="1578"/>
                    <a:pt x="340" y="1578"/>
                    <a:pt x="357" y="1577"/>
                  </a:cubicBezTo>
                  <a:cubicBezTo>
                    <a:pt x="370" y="1575"/>
                    <a:pt x="383" y="1578"/>
                    <a:pt x="396" y="1578"/>
                  </a:cubicBezTo>
                  <a:cubicBezTo>
                    <a:pt x="396" y="1578"/>
                    <a:pt x="397" y="1579"/>
                    <a:pt x="397" y="1579"/>
                  </a:cubicBezTo>
                  <a:cubicBezTo>
                    <a:pt x="414" y="1582"/>
                    <a:pt x="431" y="1585"/>
                    <a:pt x="448" y="1585"/>
                  </a:cubicBezTo>
                  <a:cubicBezTo>
                    <a:pt x="464" y="1584"/>
                    <a:pt x="480" y="1585"/>
                    <a:pt x="495" y="1584"/>
                  </a:cubicBezTo>
                  <a:cubicBezTo>
                    <a:pt x="503" y="1584"/>
                    <a:pt x="510" y="1583"/>
                    <a:pt x="517" y="1583"/>
                  </a:cubicBezTo>
                  <a:cubicBezTo>
                    <a:pt x="522" y="1582"/>
                    <a:pt x="527" y="1580"/>
                    <a:pt x="531" y="1576"/>
                  </a:cubicBezTo>
                  <a:cubicBezTo>
                    <a:pt x="541" y="1569"/>
                    <a:pt x="548" y="1557"/>
                    <a:pt x="540" y="1547"/>
                  </a:cubicBezTo>
                  <a:cubicBezTo>
                    <a:pt x="538" y="1543"/>
                    <a:pt x="533" y="1537"/>
                    <a:pt x="529" y="15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0"/>
              </a:endParaRPr>
            </a:p>
          </p:txBody>
        </p:sp>
        <p:sp>
          <p:nvSpPr>
            <p:cNvPr id="108" name="Freeform 9">
              <a:extLst>
                <a:ext uri="{FF2B5EF4-FFF2-40B4-BE49-F238E27FC236}">
                  <a16:creationId xmlns:a16="http://schemas.microsoft.com/office/drawing/2014/main" id="{0ECEAFDD-5331-4374-B30C-C3B1B8C979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7851" y="2246014"/>
              <a:ext cx="738390" cy="3062289"/>
            </a:xfrm>
            <a:custGeom>
              <a:avLst/>
              <a:gdLst>
                <a:gd name="T0" fmla="*/ 391 w 417"/>
                <a:gd name="T1" fmla="*/ 365 h 1641"/>
                <a:gd name="T2" fmla="*/ 350 w 417"/>
                <a:gd name="T3" fmla="*/ 289 h 1641"/>
                <a:gd name="T4" fmla="*/ 298 w 417"/>
                <a:gd name="T5" fmla="*/ 267 h 1641"/>
                <a:gd name="T6" fmla="*/ 284 w 417"/>
                <a:gd name="T7" fmla="*/ 246 h 1641"/>
                <a:gd name="T8" fmla="*/ 283 w 417"/>
                <a:gd name="T9" fmla="*/ 226 h 1641"/>
                <a:gd name="T10" fmla="*/ 289 w 417"/>
                <a:gd name="T11" fmla="*/ 216 h 1641"/>
                <a:gd name="T12" fmla="*/ 286 w 417"/>
                <a:gd name="T13" fmla="*/ 195 h 1641"/>
                <a:gd name="T14" fmla="*/ 301 w 417"/>
                <a:gd name="T15" fmla="*/ 200 h 1641"/>
                <a:gd name="T16" fmla="*/ 287 w 417"/>
                <a:gd name="T17" fmla="*/ 163 h 1641"/>
                <a:gd name="T18" fmla="*/ 278 w 417"/>
                <a:gd name="T19" fmla="*/ 91 h 1641"/>
                <a:gd name="T20" fmla="*/ 165 w 417"/>
                <a:gd name="T21" fmla="*/ 7 h 1641"/>
                <a:gd name="T22" fmla="*/ 116 w 417"/>
                <a:gd name="T23" fmla="*/ 30 h 1641"/>
                <a:gd name="T24" fmla="*/ 84 w 417"/>
                <a:gd name="T25" fmla="*/ 135 h 1641"/>
                <a:gd name="T26" fmla="*/ 85 w 417"/>
                <a:gd name="T27" fmla="*/ 184 h 1641"/>
                <a:gd name="T28" fmla="*/ 77 w 417"/>
                <a:gd name="T29" fmla="*/ 203 h 1641"/>
                <a:gd name="T30" fmla="*/ 70 w 417"/>
                <a:gd name="T31" fmla="*/ 214 h 1641"/>
                <a:gd name="T32" fmla="*/ 86 w 417"/>
                <a:gd name="T33" fmla="*/ 245 h 1641"/>
                <a:gd name="T34" fmla="*/ 67 w 417"/>
                <a:gd name="T35" fmla="*/ 264 h 1641"/>
                <a:gd name="T36" fmla="*/ 33 w 417"/>
                <a:gd name="T37" fmla="*/ 274 h 1641"/>
                <a:gd name="T38" fmla="*/ 0 w 417"/>
                <a:gd name="T39" fmla="*/ 346 h 1641"/>
                <a:gd name="T40" fmla="*/ 10 w 417"/>
                <a:gd name="T41" fmla="*/ 453 h 1641"/>
                <a:gd name="T42" fmla="*/ 62 w 417"/>
                <a:gd name="T43" fmla="*/ 565 h 1641"/>
                <a:gd name="T44" fmla="*/ 63 w 417"/>
                <a:gd name="T45" fmla="*/ 578 h 1641"/>
                <a:gd name="T46" fmla="*/ 51 w 417"/>
                <a:gd name="T47" fmla="*/ 631 h 1641"/>
                <a:gd name="T48" fmla="*/ 35 w 417"/>
                <a:gd name="T49" fmla="*/ 692 h 1641"/>
                <a:gd name="T50" fmla="*/ 25 w 417"/>
                <a:gd name="T51" fmla="*/ 787 h 1641"/>
                <a:gd name="T52" fmla="*/ 30 w 417"/>
                <a:gd name="T53" fmla="*/ 930 h 1641"/>
                <a:gd name="T54" fmla="*/ 39 w 417"/>
                <a:gd name="T55" fmla="*/ 1011 h 1641"/>
                <a:gd name="T56" fmla="*/ 49 w 417"/>
                <a:gd name="T57" fmla="*/ 1112 h 1641"/>
                <a:gd name="T58" fmla="*/ 70 w 417"/>
                <a:gd name="T59" fmla="*/ 1140 h 1641"/>
                <a:gd name="T60" fmla="*/ 71 w 417"/>
                <a:gd name="T61" fmla="*/ 1238 h 1641"/>
                <a:gd name="T62" fmla="*/ 119 w 417"/>
                <a:gd name="T63" fmla="*/ 1427 h 1641"/>
                <a:gd name="T64" fmla="*/ 124 w 417"/>
                <a:gd name="T65" fmla="*/ 1511 h 1641"/>
                <a:gd name="T66" fmla="*/ 115 w 417"/>
                <a:gd name="T67" fmla="*/ 1581 h 1641"/>
                <a:gd name="T68" fmla="*/ 163 w 417"/>
                <a:gd name="T69" fmla="*/ 1633 h 1641"/>
                <a:gd name="T70" fmla="*/ 188 w 417"/>
                <a:gd name="T71" fmla="*/ 1588 h 1641"/>
                <a:gd name="T72" fmla="*/ 214 w 417"/>
                <a:gd name="T73" fmla="*/ 1583 h 1641"/>
                <a:gd name="T74" fmla="*/ 289 w 417"/>
                <a:gd name="T75" fmla="*/ 1591 h 1641"/>
                <a:gd name="T76" fmla="*/ 304 w 417"/>
                <a:gd name="T77" fmla="*/ 1566 h 1641"/>
                <a:gd name="T78" fmla="*/ 230 w 417"/>
                <a:gd name="T79" fmla="*/ 1491 h 1641"/>
                <a:gd name="T80" fmla="*/ 224 w 417"/>
                <a:gd name="T81" fmla="*/ 1412 h 1641"/>
                <a:gd name="T82" fmla="*/ 287 w 417"/>
                <a:gd name="T83" fmla="*/ 1230 h 1641"/>
                <a:gd name="T84" fmla="*/ 302 w 417"/>
                <a:gd name="T85" fmla="*/ 1163 h 1641"/>
                <a:gd name="T86" fmla="*/ 333 w 417"/>
                <a:gd name="T87" fmla="*/ 1112 h 1641"/>
                <a:gd name="T88" fmla="*/ 339 w 417"/>
                <a:gd name="T89" fmla="*/ 1053 h 1641"/>
                <a:gd name="T90" fmla="*/ 353 w 417"/>
                <a:gd name="T91" fmla="*/ 939 h 1641"/>
                <a:gd name="T92" fmla="*/ 358 w 417"/>
                <a:gd name="T93" fmla="*/ 781 h 1641"/>
                <a:gd name="T94" fmla="*/ 354 w 417"/>
                <a:gd name="T95" fmla="*/ 725 h 1641"/>
                <a:gd name="T96" fmla="*/ 352 w 417"/>
                <a:gd name="T97" fmla="*/ 684 h 1641"/>
                <a:gd name="T98" fmla="*/ 350 w 417"/>
                <a:gd name="T99" fmla="*/ 648 h 1641"/>
                <a:gd name="T100" fmla="*/ 367 w 417"/>
                <a:gd name="T101" fmla="*/ 600 h 1641"/>
                <a:gd name="T102" fmla="*/ 403 w 417"/>
                <a:gd name="T103" fmla="*/ 577 h 1641"/>
                <a:gd name="T104" fmla="*/ 415 w 417"/>
                <a:gd name="T105" fmla="*/ 500 h 1641"/>
                <a:gd name="T106" fmla="*/ 205 w 417"/>
                <a:gd name="T107" fmla="*/ 1152 h 1641"/>
                <a:gd name="T108" fmla="*/ 183 w 417"/>
                <a:gd name="T109" fmla="*/ 1211 h 1641"/>
                <a:gd name="T110" fmla="*/ 184 w 417"/>
                <a:gd name="T111" fmla="*/ 1260 h 1641"/>
                <a:gd name="T112" fmla="*/ 178 w 417"/>
                <a:gd name="T113" fmla="*/ 1293 h 1641"/>
                <a:gd name="T114" fmla="*/ 174 w 417"/>
                <a:gd name="T115" fmla="*/ 1316 h 1641"/>
                <a:gd name="T116" fmla="*/ 171 w 417"/>
                <a:gd name="T117" fmla="*/ 1201 h 1641"/>
                <a:gd name="T118" fmla="*/ 178 w 417"/>
                <a:gd name="T119" fmla="*/ 1146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7" h="1641">
                  <a:moveTo>
                    <a:pt x="410" y="464"/>
                  </a:moveTo>
                  <a:cubicBezTo>
                    <a:pt x="407" y="446"/>
                    <a:pt x="403" y="429"/>
                    <a:pt x="400" y="411"/>
                  </a:cubicBezTo>
                  <a:cubicBezTo>
                    <a:pt x="397" y="396"/>
                    <a:pt x="393" y="380"/>
                    <a:pt x="391" y="365"/>
                  </a:cubicBezTo>
                  <a:cubicBezTo>
                    <a:pt x="387" y="340"/>
                    <a:pt x="377" y="319"/>
                    <a:pt x="366" y="298"/>
                  </a:cubicBezTo>
                  <a:cubicBezTo>
                    <a:pt x="364" y="293"/>
                    <a:pt x="359" y="290"/>
                    <a:pt x="354" y="290"/>
                  </a:cubicBezTo>
                  <a:cubicBezTo>
                    <a:pt x="352" y="290"/>
                    <a:pt x="351" y="290"/>
                    <a:pt x="350" y="289"/>
                  </a:cubicBezTo>
                  <a:cubicBezTo>
                    <a:pt x="340" y="287"/>
                    <a:pt x="331" y="285"/>
                    <a:pt x="320" y="283"/>
                  </a:cubicBezTo>
                  <a:cubicBezTo>
                    <a:pt x="315" y="279"/>
                    <a:pt x="308" y="275"/>
                    <a:pt x="302" y="271"/>
                  </a:cubicBezTo>
                  <a:cubicBezTo>
                    <a:pt x="300" y="270"/>
                    <a:pt x="299" y="269"/>
                    <a:pt x="298" y="267"/>
                  </a:cubicBezTo>
                  <a:cubicBezTo>
                    <a:pt x="303" y="267"/>
                    <a:pt x="307" y="266"/>
                    <a:pt x="311" y="266"/>
                  </a:cubicBezTo>
                  <a:cubicBezTo>
                    <a:pt x="304" y="263"/>
                    <a:pt x="297" y="259"/>
                    <a:pt x="290" y="256"/>
                  </a:cubicBezTo>
                  <a:cubicBezTo>
                    <a:pt x="290" y="251"/>
                    <a:pt x="287" y="249"/>
                    <a:pt x="284" y="246"/>
                  </a:cubicBezTo>
                  <a:cubicBezTo>
                    <a:pt x="282" y="243"/>
                    <a:pt x="279" y="241"/>
                    <a:pt x="277" y="238"/>
                  </a:cubicBezTo>
                  <a:cubicBezTo>
                    <a:pt x="282" y="241"/>
                    <a:pt x="287" y="238"/>
                    <a:pt x="292" y="238"/>
                  </a:cubicBezTo>
                  <a:cubicBezTo>
                    <a:pt x="289" y="234"/>
                    <a:pt x="286" y="230"/>
                    <a:pt x="283" y="226"/>
                  </a:cubicBezTo>
                  <a:cubicBezTo>
                    <a:pt x="277" y="221"/>
                    <a:pt x="275" y="214"/>
                    <a:pt x="275" y="206"/>
                  </a:cubicBezTo>
                  <a:cubicBezTo>
                    <a:pt x="275" y="204"/>
                    <a:pt x="276" y="203"/>
                    <a:pt x="277" y="200"/>
                  </a:cubicBezTo>
                  <a:cubicBezTo>
                    <a:pt x="280" y="207"/>
                    <a:pt x="282" y="211"/>
                    <a:pt x="289" y="216"/>
                  </a:cubicBezTo>
                  <a:cubicBezTo>
                    <a:pt x="286" y="211"/>
                    <a:pt x="285" y="208"/>
                    <a:pt x="283" y="205"/>
                  </a:cubicBezTo>
                  <a:cubicBezTo>
                    <a:pt x="287" y="203"/>
                    <a:pt x="285" y="200"/>
                    <a:pt x="285" y="197"/>
                  </a:cubicBezTo>
                  <a:cubicBezTo>
                    <a:pt x="284" y="197"/>
                    <a:pt x="285" y="196"/>
                    <a:pt x="286" y="195"/>
                  </a:cubicBezTo>
                  <a:cubicBezTo>
                    <a:pt x="287" y="196"/>
                    <a:pt x="288" y="197"/>
                    <a:pt x="288" y="198"/>
                  </a:cubicBezTo>
                  <a:cubicBezTo>
                    <a:pt x="289" y="198"/>
                    <a:pt x="290" y="197"/>
                    <a:pt x="291" y="197"/>
                  </a:cubicBezTo>
                  <a:cubicBezTo>
                    <a:pt x="294" y="198"/>
                    <a:pt x="296" y="203"/>
                    <a:pt x="301" y="200"/>
                  </a:cubicBezTo>
                  <a:cubicBezTo>
                    <a:pt x="296" y="191"/>
                    <a:pt x="291" y="182"/>
                    <a:pt x="288" y="173"/>
                  </a:cubicBezTo>
                  <a:cubicBezTo>
                    <a:pt x="289" y="173"/>
                    <a:pt x="290" y="172"/>
                    <a:pt x="291" y="172"/>
                  </a:cubicBezTo>
                  <a:cubicBezTo>
                    <a:pt x="289" y="168"/>
                    <a:pt x="288" y="165"/>
                    <a:pt x="287" y="163"/>
                  </a:cubicBezTo>
                  <a:cubicBezTo>
                    <a:pt x="287" y="161"/>
                    <a:pt x="288" y="159"/>
                    <a:pt x="288" y="158"/>
                  </a:cubicBezTo>
                  <a:cubicBezTo>
                    <a:pt x="288" y="155"/>
                    <a:pt x="287" y="152"/>
                    <a:pt x="288" y="149"/>
                  </a:cubicBezTo>
                  <a:cubicBezTo>
                    <a:pt x="289" y="129"/>
                    <a:pt x="284" y="110"/>
                    <a:pt x="278" y="91"/>
                  </a:cubicBezTo>
                  <a:cubicBezTo>
                    <a:pt x="271" y="70"/>
                    <a:pt x="259" y="52"/>
                    <a:pt x="244" y="36"/>
                  </a:cubicBezTo>
                  <a:cubicBezTo>
                    <a:pt x="227" y="18"/>
                    <a:pt x="205" y="8"/>
                    <a:pt x="181" y="2"/>
                  </a:cubicBezTo>
                  <a:cubicBezTo>
                    <a:pt x="176" y="1"/>
                    <a:pt x="169" y="0"/>
                    <a:pt x="165" y="7"/>
                  </a:cubicBezTo>
                  <a:cubicBezTo>
                    <a:pt x="163" y="9"/>
                    <a:pt x="160" y="10"/>
                    <a:pt x="157" y="8"/>
                  </a:cubicBezTo>
                  <a:cubicBezTo>
                    <a:pt x="151" y="5"/>
                    <a:pt x="145" y="6"/>
                    <a:pt x="140" y="9"/>
                  </a:cubicBezTo>
                  <a:cubicBezTo>
                    <a:pt x="131" y="14"/>
                    <a:pt x="121" y="20"/>
                    <a:pt x="116" y="30"/>
                  </a:cubicBezTo>
                  <a:cubicBezTo>
                    <a:pt x="115" y="32"/>
                    <a:pt x="113" y="34"/>
                    <a:pt x="111" y="37"/>
                  </a:cubicBezTo>
                  <a:cubicBezTo>
                    <a:pt x="104" y="49"/>
                    <a:pt x="97" y="61"/>
                    <a:pt x="93" y="74"/>
                  </a:cubicBezTo>
                  <a:cubicBezTo>
                    <a:pt x="85" y="94"/>
                    <a:pt x="85" y="114"/>
                    <a:pt x="84" y="135"/>
                  </a:cubicBezTo>
                  <a:cubicBezTo>
                    <a:pt x="83" y="138"/>
                    <a:pt x="85" y="142"/>
                    <a:pt x="85" y="145"/>
                  </a:cubicBezTo>
                  <a:cubicBezTo>
                    <a:pt x="85" y="156"/>
                    <a:pt x="85" y="168"/>
                    <a:pt x="85" y="180"/>
                  </a:cubicBezTo>
                  <a:cubicBezTo>
                    <a:pt x="85" y="181"/>
                    <a:pt x="85" y="183"/>
                    <a:pt x="85" y="184"/>
                  </a:cubicBezTo>
                  <a:cubicBezTo>
                    <a:pt x="81" y="190"/>
                    <a:pt x="78" y="196"/>
                    <a:pt x="75" y="203"/>
                  </a:cubicBezTo>
                  <a:cubicBezTo>
                    <a:pt x="75" y="203"/>
                    <a:pt x="75" y="203"/>
                    <a:pt x="75" y="204"/>
                  </a:cubicBezTo>
                  <a:cubicBezTo>
                    <a:pt x="76" y="204"/>
                    <a:pt x="77" y="204"/>
                    <a:pt x="77" y="203"/>
                  </a:cubicBezTo>
                  <a:cubicBezTo>
                    <a:pt x="78" y="203"/>
                    <a:pt x="79" y="203"/>
                    <a:pt x="80" y="202"/>
                  </a:cubicBezTo>
                  <a:cubicBezTo>
                    <a:pt x="80" y="202"/>
                    <a:pt x="80" y="203"/>
                    <a:pt x="80" y="203"/>
                  </a:cubicBezTo>
                  <a:cubicBezTo>
                    <a:pt x="77" y="206"/>
                    <a:pt x="74" y="210"/>
                    <a:pt x="70" y="214"/>
                  </a:cubicBezTo>
                  <a:cubicBezTo>
                    <a:pt x="74" y="214"/>
                    <a:pt x="76" y="214"/>
                    <a:pt x="77" y="215"/>
                  </a:cubicBezTo>
                  <a:cubicBezTo>
                    <a:pt x="82" y="219"/>
                    <a:pt x="80" y="223"/>
                    <a:pt x="78" y="228"/>
                  </a:cubicBezTo>
                  <a:cubicBezTo>
                    <a:pt x="84" y="232"/>
                    <a:pt x="83" y="239"/>
                    <a:pt x="86" y="245"/>
                  </a:cubicBezTo>
                  <a:cubicBezTo>
                    <a:pt x="85" y="246"/>
                    <a:pt x="83" y="249"/>
                    <a:pt x="81" y="251"/>
                  </a:cubicBezTo>
                  <a:cubicBezTo>
                    <a:pt x="81" y="253"/>
                    <a:pt x="81" y="255"/>
                    <a:pt x="82" y="257"/>
                  </a:cubicBezTo>
                  <a:cubicBezTo>
                    <a:pt x="77" y="261"/>
                    <a:pt x="72" y="263"/>
                    <a:pt x="67" y="264"/>
                  </a:cubicBezTo>
                  <a:cubicBezTo>
                    <a:pt x="61" y="265"/>
                    <a:pt x="56" y="262"/>
                    <a:pt x="51" y="258"/>
                  </a:cubicBezTo>
                  <a:cubicBezTo>
                    <a:pt x="52" y="262"/>
                    <a:pt x="53" y="267"/>
                    <a:pt x="54" y="271"/>
                  </a:cubicBezTo>
                  <a:cubicBezTo>
                    <a:pt x="47" y="272"/>
                    <a:pt x="40" y="274"/>
                    <a:pt x="33" y="274"/>
                  </a:cubicBezTo>
                  <a:cubicBezTo>
                    <a:pt x="25" y="275"/>
                    <a:pt x="20" y="278"/>
                    <a:pt x="17" y="285"/>
                  </a:cubicBezTo>
                  <a:cubicBezTo>
                    <a:pt x="12" y="296"/>
                    <a:pt x="7" y="307"/>
                    <a:pt x="4" y="318"/>
                  </a:cubicBezTo>
                  <a:cubicBezTo>
                    <a:pt x="2" y="327"/>
                    <a:pt x="1" y="337"/>
                    <a:pt x="0" y="346"/>
                  </a:cubicBezTo>
                  <a:cubicBezTo>
                    <a:pt x="0" y="356"/>
                    <a:pt x="2" y="365"/>
                    <a:pt x="2" y="374"/>
                  </a:cubicBezTo>
                  <a:cubicBezTo>
                    <a:pt x="2" y="385"/>
                    <a:pt x="2" y="396"/>
                    <a:pt x="2" y="407"/>
                  </a:cubicBezTo>
                  <a:cubicBezTo>
                    <a:pt x="2" y="423"/>
                    <a:pt x="4" y="438"/>
                    <a:pt x="10" y="453"/>
                  </a:cubicBezTo>
                  <a:cubicBezTo>
                    <a:pt x="15" y="469"/>
                    <a:pt x="21" y="484"/>
                    <a:pt x="28" y="499"/>
                  </a:cubicBezTo>
                  <a:cubicBezTo>
                    <a:pt x="35" y="516"/>
                    <a:pt x="45" y="531"/>
                    <a:pt x="56" y="546"/>
                  </a:cubicBezTo>
                  <a:cubicBezTo>
                    <a:pt x="61" y="551"/>
                    <a:pt x="63" y="558"/>
                    <a:pt x="62" y="565"/>
                  </a:cubicBezTo>
                  <a:cubicBezTo>
                    <a:pt x="61" y="567"/>
                    <a:pt x="61" y="569"/>
                    <a:pt x="62" y="571"/>
                  </a:cubicBezTo>
                  <a:cubicBezTo>
                    <a:pt x="62" y="572"/>
                    <a:pt x="63" y="573"/>
                    <a:pt x="63" y="575"/>
                  </a:cubicBezTo>
                  <a:cubicBezTo>
                    <a:pt x="63" y="576"/>
                    <a:pt x="63" y="577"/>
                    <a:pt x="63" y="578"/>
                  </a:cubicBezTo>
                  <a:cubicBezTo>
                    <a:pt x="63" y="581"/>
                    <a:pt x="62" y="583"/>
                    <a:pt x="61" y="586"/>
                  </a:cubicBezTo>
                  <a:cubicBezTo>
                    <a:pt x="58" y="594"/>
                    <a:pt x="57" y="603"/>
                    <a:pt x="55" y="611"/>
                  </a:cubicBezTo>
                  <a:cubicBezTo>
                    <a:pt x="53" y="618"/>
                    <a:pt x="51" y="624"/>
                    <a:pt x="51" y="631"/>
                  </a:cubicBezTo>
                  <a:cubicBezTo>
                    <a:pt x="51" y="639"/>
                    <a:pt x="49" y="646"/>
                    <a:pt x="44" y="652"/>
                  </a:cubicBezTo>
                  <a:cubicBezTo>
                    <a:pt x="38" y="662"/>
                    <a:pt x="35" y="673"/>
                    <a:pt x="33" y="684"/>
                  </a:cubicBezTo>
                  <a:cubicBezTo>
                    <a:pt x="33" y="686"/>
                    <a:pt x="34" y="689"/>
                    <a:pt x="35" y="692"/>
                  </a:cubicBezTo>
                  <a:cubicBezTo>
                    <a:pt x="35" y="694"/>
                    <a:pt x="36" y="696"/>
                    <a:pt x="35" y="698"/>
                  </a:cubicBezTo>
                  <a:cubicBezTo>
                    <a:pt x="31" y="713"/>
                    <a:pt x="28" y="728"/>
                    <a:pt x="28" y="744"/>
                  </a:cubicBezTo>
                  <a:cubicBezTo>
                    <a:pt x="27" y="758"/>
                    <a:pt x="25" y="772"/>
                    <a:pt x="25" y="787"/>
                  </a:cubicBezTo>
                  <a:cubicBezTo>
                    <a:pt x="25" y="801"/>
                    <a:pt x="25" y="815"/>
                    <a:pt x="26" y="829"/>
                  </a:cubicBezTo>
                  <a:cubicBezTo>
                    <a:pt x="27" y="854"/>
                    <a:pt x="26" y="879"/>
                    <a:pt x="28" y="904"/>
                  </a:cubicBezTo>
                  <a:cubicBezTo>
                    <a:pt x="29" y="912"/>
                    <a:pt x="29" y="921"/>
                    <a:pt x="30" y="930"/>
                  </a:cubicBezTo>
                  <a:cubicBezTo>
                    <a:pt x="30" y="935"/>
                    <a:pt x="31" y="940"/>
                    <a:pt x="32" y="945"/>
                  </a:cubicBezTo>
                  <a:cubicBezTo>
                    <a:pt x="33" y="955"/>
                    <a:pt x="35" y="965"/>
                    <a:pt x="36" y="975"/>
                  </a:cubicBezTo>
                  <a:cubicBezTo>
                    <a:pt x="37" y="987"/>
                    <a:pt x="38" y="999"/>
                    <a:pt x="39" y="1011"/>
                  </a:cubicBezTo>
                  <a:cubicBezTo>
                    <a:pt x="41" y="1024"/>
                    <a:pt x="42" y="1038"/>
                    <a:pt x="43" y="1052"/>
                  </a:cubicBezTo>
                  <a:cubicBezTo>
                    <a:pt x="43" y="1064"/>
                    <a:pt x="43" y="1075"/>
                    <a:pt x="43" y="1087"/>
                  </a:cubicBezTo>
                  <a:cubicBezTo>
                    <a:pt x="42" y="1096"/>
                    <a:pt x="43" y="1104"/>
                    <a:pt x="49" y="1112"/>
                  </a:cubicBezTo>
                  <a:cubicBezTo>
                    <a:pt x="52" y="1116"/>
                    <a:pt x="55" y="1119"/>
                    <a:pt x="59" y="1120"/>
                  </a:cubicBezTo>
                  <a:cubicBezTo>
                    <a:pt x="63" y="1121"/>
                    <a:pt x="67" y="1123"/>
                    <a:pt x="70" y="1125"/>
                  </a:cubicBezTo>
                  <a:cubicBezTo>
                    <a:pt x="70" y="1131"/>
                    <a:pt x="71" y="1135"/>
                    <a:pt x="70" y="1140"/>
                  </a:cubicBezTo>
                  <a:cubicBezTo>
                    <a:pt x="69" y="1150"/>
                    <a:pt x="67" y="1160"/>
                    <a:pt x="67" y="1170"/>
                  </a:cubicBezTo>
                  <a:cubicBezTo>
                    <a:pt x="67" y="1186"/>
                    <a:pt x="68" y="1203"/>
                    <a:pt x="69" y="1219"/>
                  </a:cubicBezTo>
                  <a:cubicBezTo>
                    <a:pt x="69" y="1225"/>
                    <a:pt x="70" y="1232"/>
                    <a:pt x="71" y="1238"/>
                  </a:cubicBezTo>
                  <a:cubicBezTo>
                    <a:pt x="76" y="1264"/>
                    <a:pt x="80" y="1290"/>
                    <a:pt x="87" y="1316"/>
                  </a:cubicBezTo>
                  <a:cubicBezTo>
                    <a:pt x="94" y="1342"/>
                    <a:pt x="101" y="1368"/>
                    <a:pt x="108" y="1393"/>
                  </a:cubicBezTo>
                  <a:cubicBezTo>
                    <a:pt x="111" y="1405"/>
                    <a:pt x="116" y="1416"/>
                    <a:pt x="119" y="1427"/>
                  </a:cubicBezTo>
                  <a:cubicBezTo>
                    <a:pt x="124" y="1441"/>
                    <a:pt x="127" y="1454"/>
                    <a:pt x="126" y="1469"/>
                  </a:cubicBezTo>
                  <a:cubicBezTo>
                    <a:pt x="125" y="1474"/>
                    <a:pt x="125" y="1480"/>
                    <a:pt x="126" y="1486"/>
                  </a:cubicBezTo>
                  <a:cubicBezTo>
                    <a:pt x="127" y="1494"/>
                    <a:pt x="126" y="1502"/>
                    <a:pt x="124" y="1511"/>
                  </a:cubicBezTo>
                  <a:cubicBezTo>
                    <a:pt x="123" y="1518"/>
                    <a:pt x="122" y="1527"/>
                    <a:pt x="121" y="1535"/>
                  </a:cubicBezTo>
                  <a:cubicBezTo>
                    <a:pt x="120" y="1539"/>
                    <a:pt x="120" y="1543"/>
                    <a:pt x="119" y="1547"/>
                  </a:cubicBezTo>
                  <a:cubicBezTo>
                    <a:pt x="118" y="1559"/>
                    <a:pt x="116" y="1570"/>
                    <a:pt x="115" y="1581"/>
                  </a:cubicBezTo>
                  <a:cubicBezTo>
                    <a:pt x="114" y="1593"/>
                    <a:pt x="114" y="1605"/>
                    <a:pt x="122" y="1614"/>
                  </a:cubicBezTo>
                  <a:cubicBezTo>
                    <a:pt x="127" y="1619"/>
                    <a:pt x="132" y="1625"/>
                    <a:pt x="137" y="1629"/>
                  </a:cubicBezTo>
                  <a:cubicBezTo>
                    <a:pt x="145" y="1635"/>
                    <a:pt x="153" y="1641"/>
                    <a:pt x="163" y="1633"/>
                  </a:cubicBezTo>
                  <a:cubicBezTo>
                    <a:pt x="163" y="1633"/>
                    <a:pt x="163" y="1632"/>
                    <a:pt x="163" y="1632"/>
                  </a:cubicBezTo>
                  <a:cubicBezTo>
                    <a:pt x="172" y="1630"/>
                    <a:pt x="177" y="1624"/>
                    <a:pt x="181" y="1616"/>
                  </a:cubicBezTo>
                  <a:cubicBezTo>
                    <a:pt x="186" y="1607"/>
                    <a:pt x="188" y="1598"/>
                    <a:pt x="188" y="1588"/>
                  </a:cubicBezTo>
                  <a:cubicBezTo>
                    <a:pt x="188" y="1585"/>
                    <a:pt x="188" y="1581"/>
                    <a:pt x="188" y="1577"/>
                  </a:cubicBezTo>
                  <a:cubicBezTo>
                    <a:pt x="195" y="1582"/>
                    <a:pt x="202" y="1583"/>
                    <a:pt x="210" y="1583"/>
                  </a:cubicBezTo>
                  <a:cubicBezTo>
                    <a:pt x="211" y="1583"/>
                    <a:pt x="213" y="1583"/>
                    <a:pt x="214" y="1583"/>
                  </a:cubicBezTo>
                  <a:cubicBezTo>
                    <a:pt x="225" y="1585"/>
                    <a:pt x="237" y="1587"/>
                    <a:pt x="248" y="1588"/>
                  </a:cubicBezTo>
                  <a:cubicBezTo>
                    <a:pt x="255" y="1589"/>
                    <a:pt x="261" y="1589"/>
                    <a:pt x="268" y="1590"/>
                  </a:cubicBezTo>
                  <a:cubicBezTo>
                    <a:pt x="275" y="1590"/>
                    <a:pt x="282" y="1592"/>
                    <a:pt x="289" y="1591"/>
                  </a:cubicBezTo>
                  <a:cubicBezTo>
                    <a:pt x="293" y="1591"/>
                    <a:pt x="296" y="1589"/>
                    <a:pt x="299" y="1588"/>
                  </a:cubicBezTo>
                  <a:cubicBezTo>
                    <a:pt x="302" y="1586"/>
                    <a:pt x="305" y="1584"/>
                    <a:pt x="308" y="1582"/>
                  </a:cubicBezTo>
                  <a:cubicBezTo>
                    <a:pt x="315" y="1577"/>
                    <a:pt x="312" y="1568"/>
                    <a:pt x="304" y="1566"/>
                  </a:cubicBezTo>
                  <a:cubicBezTo>
                    <a:pt x="290" y="1563"/>
                    <a:pt x="277" y="1557"/>
                    <a:pt x="265" y="1549"/>
                  </a:cubicBezTo>
                  <a:cubicBezTo>
                    <a:pt x="258" y="1545"/>
                    <a:pt x="255" y="1539"/>
                    <a:pt x="250" y="1533"/>
                  </a:cubicBezTo>
                  <a:cubicBezTo>
                    <a:pt x="239" y="1521"/>
                    <a:pt x="236" y="1506"/>
                    <a:pt x="230" y="1491"/>
                  </a:cubicBezTo>
                  <a:cubicBezTo>
                    <a:pt x="228" y="1484"/>
                    <a:pt x="225" y="1478"/>
                    <a:pt x="222" y="1471"/>
                  </a:cubicBezTo>
                  <a:cubicBezTo>
                    <a:pt x="217" y="1456"/>
                    <a:pt x="221" y="1442"/>
                    <a:pt x="221" y="1427"/>
                  </a:cubicBezTo>
                  <a:cubicBezTo>
                    <a:pt x="222" y="1422"/>
                    <a:pt x="223" y="1417"/>
                    <a:pt x="224" y="1412"/>
                  </a:cubicBezTo>
                  <a:cubicBezTo>
                    <a:pt x="230" y="1392"/>
                    <a:pt x="237" y="1373"/>
                    <a:pt x="244" y="1354"/>
                  </a:cubicBezTo>
                  <a:cubicBezTo>
                    <a:pt x="249" y="1338"/>
                    <a:pt x="255" y="1322"/>
                    <a:pt x="261" y="1307"/>
                  </a:cubicBezTo>
                  <a:cubicBezTo>
                    <a:pt x="271" y="1282"/>
                    <a:pt x="280" y="1256"/>
                    <a:pt x="287" y="1230"/>
                  </a:cubicBezTo>
                  <a:cubicBezTo>
                    <a:pt x="290" y="1218"/>
                    <a:pt x="292" y="1205"/>
                    <a:pt x="294" y="1192"/>
                  </a:cubicBezTo>
                  <a:cubicBezTo>
                    <a:pt x="296" y="1184"/>
                    <a:pt x="296" y="1175"/>
                    <a:pt x="301" y="1167"/>
                  </a:cubicBezTo>
                  <a:cubicBezTo>
                    <a:pt x="302" y="1166"/>
                    <a:pt x="302" y="1164"/>
                    <a:pt x="302" y="1163"/>
                  </a:cubicBezTo>
                  <a:cubicBezTo>
                    <a:pt x="307" y="1151"/>
                    <a:pt x="312" y="1139"/>
                    <a:pt x="316" y="1128"/>
                  </a:cubicBezTo>
                  <a:cubicBezTo>
                    <a:pt x="321" y="1126"/>
                    <a:pt x="324" y="1124"/>
                    <a:pt x="328" y="1122"/>
                  </a:cubicBezTo>
                  <a:cubicBezTo>
                    <a:pt x="332" y="1120"/>
                    <a:pt x="334" y="1117"/>
                    <a:pt x="333" y="1112"/>
                  </a:cubicBezTo>
                  <a:cubicBezTo>
                    <a:pt x="333" y="1109"/>
                    <a:pt x="333" y="1106"/>
                    <a:pt x="334" y="1103"/>
                  </a:cubicBezTo>
                  <a:cubicBezTo>
                    <a:pt x="335" y="1094"/>
                    <a:pt x="336" y="1084"/>
                    <a:pt x="337" y="1074"/>
                  </a:cubicBezTo>
                  <a:cubicBezTo>
                    <a:pt x="337" y="1067"/>
                    <a:pt x="338" y="1060"/>
                    <a:pt x="339" y="1053"/>
                  </a:cubicBezTo>
                  <a:cubicBezTo>
                    <a:pt x="340" y="1042"/>
                    <a:pt x="342" y="1032"/>
                    <a:pt x="343" y="1022"/>
                  </a:cubicBezTo>
                  <a:cubicBezTo>
                    <a:pt x="344" y="1011"/>
                    <a:pt x="345" y="1001"/>
                    <a:pt x="347" y="990"/>
                  </a:cubicBezTo>
                  <a:cubicBezTo>
                    <a:pt x="349" y="973"/>
                    <a:pt x="351" y="956"/>
                    <a:pt x="353" y="939"/>
                  </a:cubicBezTo>
                  <a:cubicBezTo>
                    <a:pt x="354" y="926"/>
                    <a:pt x="356" y="913"/>
                    <a:pt x="356" y="899"/>
                  </a:cubicBezTo>
                  <a:cubicBezTo>
                    <a:pt x="356" y="881"/>
                    <a:pt x="358" y="863"/>
                    <a:pt x="359" y="846"/>
                  </a:cubicBezTo>
                  <a:cubicBezTo>
                    <a:pt x="360" y="824"/>
                    <a:pt x="358" y="802"/>
                    <a:pt x="358" y="781"/>
                  </a:cubicBezTo>
                  <a:cubicBezTo>
                    <a:pt x="358" y="780"/>
                    <a:pt x="358" y="780"/>
                    <a:pt x="358" y="780"/>
                  </a:cubicBezTo>
                  <a:cubicBezTo>
                    <a:pt x="357" y="766"/>
                    <a:pt x="356" y="753"/>
                    <a:pt x="355" y="739"/>
                  </a:cubicBezTo>
                  <a:cubicBezTo>
                    <a:pt x="354" y="735"/>
                    <a:pt x="355" y="729"/>
                    <a:pt x="354" y="725"/>
                  </a:cubicBezTo>
                  <a:cubicBezTo>
                    <a:pt x="353" y="719"/>
                    <a:pt x="352" y="712"/>
                    <a:pt x="351" y="706"/>
                  </a:cubicBezTo>
                  <a:cubicBezTo>
                    <a:pt x="351" y="704"/>
                    <a:pt x="350" y="701"/>
                    <a:pt x="349" y="698"/>
                  </a:cubicBezTo>
                  <a:cubicBezTo>
                    <a:pt x="348" y="693"/>
                    <a:pt x="347" y="687"/>
                    <a:pt x="352" y="684"/>
                  </a:cubicBezTo>
                  <a:cubicBezTo>
                    <a:pt x="352" y="684"/>
                    <a:pt x="356" y="682"/>
                    <a:pt x="356" y="681"/>
                  </a:cubicBezTo>
                  <a:cubicBezTo>
                    <a:pt x="356" y="679"/>
                    <a:pt x="356" y="677"/>
                    <a:pt x="356" y="676"/>
                  </a:cubicBezTo>
                  <a:cubicBezTo>
                    <a:pt x="354" y="667"/>
                    <a:pt x="353" y="657"/>
                    <a:pt x="350" y="648"/>
                  </a:cubicBezTo>
                  <a:cubicBezTo>
                    <a:pt x="345" y="635"/>
                    <a:pt x="342" y="621"/>
                    <a:pt x="341" y="606"/>
                  </a:cubicBezTo>
                  <a:cubicBezTo>
                    <a:pt x="348" y="602"/>
                    <a:pt x="356" y="602"/>
                    <a:pt x="364" y="600"/>
                  </a:cubicBezTo>
                  <a:cubicBezTo>
                    <a:pt x="365" y="599"/>
                    <a:pt x="366" y="600"/>
                    <a:pt x="367" y="600"/>
                  </a:cubicBezTo>
                  <a:cubicBezTo>
                    <a:pt x="370" y="601"/>
                    <a:pt x="373" y="601"/>
                    <a:pt x="377" y="600"/>
                  </a:cubicBezTo>
                  <a:cubicBezTo>
                    <a:pt x="384" y="599"/>
                    <a:pt x="388" y="594"/>
                    <a:pt x="394" y="591"/>
                  </a:cubicBezTo>
                  <a:cubicBezTo>
                    <a:pt x="399" y="588"/>
                    <a:pt x="402" y="583"/>
                    <a:pt x="403" y="577"/>
                  </a:cubicBezTo>
                  <a:cubicBezTo>
                    <a:pt x="405" y="571"/>
                    <a:pt x="406" y="566"/>
                    <a:pt x="406" y="561"/>
                  </a:cubicBezTo>
                  <a:cubicBezTo>
                    <a:pt x="408" y="546"/>
                    <a:pt x="412" y="531"/>
                    <a:pt x="412" y="515"/>
                  </a:cubicBezTo>
                  <a:cubicBezTo>
                    <a:pt x="412" y="510"/>
                    <a:pt x="413" y="505"/>
                    <a:pt x="415" y="500"/>
                  </a:cubicBezTo>
                  <a:cubicBezTo>
                    <a:pt x="417" y="495"/>
                    <a:pt x="417" y="490"/>
                    <a:pt x="416" y="485"/>
                  </a:cubicBezTo>
                  <a:cubicBezTo>
                    <a:pt x="414" y="478"/>
                    <a:pt x="412" y="471"/>
                    <a:pt x="410" y="464"/>
                  </a:cubicBezTo>
                  <a:close/>
                  <a:moveTo>
                    <a:pt x="205" y="1152"/>
                  </a:moveTo>
                  <a:cubicBezTo>
                    <a:pt x="202" y="1158"/>
                    <a:pt x="199" y="1165"/>
                    <a:pt x="196" y="1171"/>
                  </a:cubicBezTo>
                  <a:cubicBezTo>
                    <a:pt x="194" y="1176"/>
                    <a:pt x="191" y="1180"/>
                    <a:pt x="190" y="1185"/>
                  </a:cubicBezTo>
                  <a:cubicBezTo>
                    <a:pt x="188" y="1193"/>
                    <a:pt x="186" y="1202"/>
                    <a:pt x="183" y="1211"/>
                  </a:cubicBezTo>
                  <a:cubicBezTo>
                    <a:pt x="183" y="1212"/>
                    <a:pt x="183" y="1214"/>
                    <a:pt x="183" y="1215"/>
                  </a:cubicBezTo>
                  <a:cubicBezTo>
                    <a:pt x="184" y="1222"/>
                    <a:pt x="185" y="1229"/>
                    <a:pt x="183" y="1236"/>
                  </a:cubicBezTo>
                  <a:cubicBezTo>
                    <a:pt x="181" y="1243"/>
                    <a:pt x="183" y="1252"/>
                    <a:pt x="184" y="1260"/>
                  </a:cubicBezTo>
                  <a:cubicBezTo>
                    <a:pt x="185" y="1266"/>
                    <a:pt x="185" y="1266"/>
                    <a:pt x="180" y="1272"/>
                  </a:cubicBezTo>
                  <a:cubicBezTo>
                    <a:pt x="180" y="1276"/>
                    <a:pt x="180" y="1280"/>
                    <a:pt x="180" y="1283"/>
                  </a:cubicBezTo>
                  <a:cubicBezTo>
                    <a:pt x="180" y="1287"/>
                    <a:pt x="180" y="1290"/>
                    <a:pt x="178" y="1293"/>
                  </a:cubicBezTo>
                  <a:cubicBezTo>
                    <a:pt x="177" y="1294"/>
                    <a:pt x="177" y="1297"/>
                    <a:pt x="177" y="1299"/>
                  </a:cubicBezTo>
                  <a:cubicBezTo>
                    <a:pt x="176" y="1303"/>
                    <a:pt x="177" y="1307"/>
                    <a:pt x="176" y="1311"/>
                  </a:cubicBezTo>
                  <a:cubicBezTo>
                    <a:pt x="176" y="1313"/>
                    <a:pt x="176" y="1314"/>
                    <a:pt x="174" y="1316"/>
                  </a:cubicBezTo>
                  <a:cubicBezTo>
                    <a:pt x="174" y="1314"/>
                    <a:pt x="173" y="1312"/>
                    <a:pt x="173" y="1309"/>
                  </a:cubicBezTo>
                  <a:cubicBezTo>
                    <a:pt x="173" y="1277"/>
                    <a:pt x="173" y="1245"/>
                    <a:pt x="173" y="1212"/>
                  </a:cubicBezTo>
                  <a:cubicBezTo>
                    <a:pt x="173" y="1208"/>
                    <a:pt x="174" y="1204"/>
                    <a:pt x="171" y="1201"/>
                  </a:cubicBezTo>
                  <a:cubicBezTo>
                    <a:pt x="170" y="1200"/>
                    <a:pt x="170" y="1198"/>
                    <a:pt x="170" y="1197"/>
                  </a:cubicBezTo>
                  <a:cubicBezTo>
                    <a:pt x="170" y="1182"/>
                    <a:pt x="170" y="1168"/>
                    <a:pt x="170" y="1153"/>
                  </a:cubicBezTo>
                  <a:cubicBezTo>
                    <a:pt x="172" y="1151"/>
                    <a:pt x="175" y="1149"/>
                    <a:pt x="178" y="1146"/>
                  </a:cubicBezTo>
                  <a:cubicBezTo>
                    <a:pt x="186" y="1146"/>
                    <a:pt x="195" y="1146"/>
                    <a:pt x="204" y="1146"/>
                  </a:cubicBezTo>
                  <a:cubicBezTo>
                    <a:pt x="206" y="1148"/>
                    <a:pt x="206" y="1150"/>
                    <a:pt x="205" y="11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0"/>
              </a:endParaRPr>
            </a:p>
          </p:txBody>
        </p:sp>
        <p:sp>
          <p:nvSpPr>
            <p:cNvPr id="109" name="Freeform 10">
              <a:extLst>
                <a:ext uri="{FF2B5EF4-FFF2-40B4-BE49-F238E27FC236}">
                  <a16:creationId xmlns:a16="http://schemas.microsoft.com/office/drawing/2014/main" id="{30C64509-D547-49CF-89CE-0FBE7241E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5088" y="2212976"/>
              <a:ext cx="811212" cy="3089275"/>
            </a:xfrm>
            <a:custGeom>
              <a:avLst/>
              <a:gdLst>
                <a:gd name="T0" fmla="*/ 8 w 434"/>
                <a:gd name="T1" fmla="*/ 537 h 1655"/>
                <a:gd name="T2" fmla="*/ 16 w 434"/>
                <a:gd name="T3" fmla="*/ 605 h 1655"/>
                <a:gd name="T4" fmla="*/ 29 w 434"/>
                <a:gd name="T5" fmla="*/ 687 h 1655"/>
                <a:gd name="T6" fmla="*/ 32 w 434"/>
                <a:gd name="T7" fmla="*/ 745 h 1655"/>
                <a:gd name="T8" fmla="*/ 39 w 434"/>
                <a:gd name="T9" fmla="*/ 790 h 1655"/>
                <a:gd name="T10" fmla="*/ 47 w 434"/>
                <a:gd name="T11" fmla="*/ 864 h 1655"/>
                <a:gd name="T12" fmla="*/ 81 w 434"/>
                <a:gd name="T13" fmla="*/ 1016 h 1655"/>
                <a:gd name="T14" fmla="*/ 99 w 434"/>
                <a:gd name="T15" fmla="*/ 1114 h 1655"/>
                <a:gd name="T16" fmla="*/ 121 w 434"/>
                <a:gd name="T17" fmla="*/ 1235 h 1655"/>
                <a:gd name="T18" fmla="*/ 135 w 434"/>
                <a:gd name="T19" fmla="*/ 1327 h 1655"/>
                <a:gd name="T20" fmla="*/ 130 w 434"/>
                <a:gd name="T21" fmla="*/ 1488 h 1655"/>
                <a:gd name="T22" fmla="*/ 118 w 434"/>
                <a:gd name="T23" fmla="*/ 1520 h 1655"/>
                <a:gd name="T24" fmla="*/ 70 w 434"/>
                <a:gd name="T25" fmla="*/ 1539 h 1655"/>
                <a:gd name="T26" fmla="*/ 112 w 434"/>
                <a:gd name="T27" fmla="*/ 1566 h 1655"/>
                <a:gd name="T28" fmla="*/ 115 w 434"/>
                <a:gd name="T29" fmla="*/ 1626 h 1655"/>
                <a:gd name="T30" fmla="*/ 206 w 434"/>
                <a:gd name="T31" fmla="*/ 1615 h 1655"/>
                <a:gd name="T32" fmla="*/ 258 w 434"/>
                <a:gd name="T33" fmla="*/ 1574 h 1655"/>
                <a:gd name="T34" fmla="*/ 287 w 434"/>
                <a:gd name="T35" fmla="*/ 1516 h 1655"/>
                <a:gd name="T36" fmla="*/ 279 w 434"/>
                <a:gd name="T37" fmla="*/ 1440 h 1655"/>
                <a:gd name="T38" fmla="*/ 272 w 434"/>
                <a:gd name="T39" fmla="*/ 1368 h 1655"/>
                <a:gd name="T40" fmla="*/ 267 w 434"/>
                <a:gd name="T41" fmla="*/ 1280 h 1655"/>
                <a:gd name="T42" fmla="*/ 271 w 434"/>
                <a:gd name="T43" fmla="*/ 1228 h 1655"/>
                <a:gd name="T44" fmla="*/ 279 w 434"/>
                <a:gd name="T45" fmla="*/ 1126 h 1655"/>
                <a:gd name="T46" fmla="*/ 293 w 434"/>
                <a:gd name="T47" fmla="*/ 1014 h 1655"/>
                <a:gd name="T48" fmla="*/ 298 w 434"/>
                <a:gd name="T49" fmla="*/ 957 h 1655"/>
                <a:gd name="T50" fmla="*/ 315 w 434"/>
                <a:gd name="T51" fmla="*/ 871 h 1655"/>
                <a:gd name="T52" fmla="*/ 331 w 434"/>
                <a:gd name="T53" fmla="*/ 801 h 1655"/>
                <a:gd name="T54" fmla="*/ 360 w 434"/>
                <a:gd name="T55" fmla="*/ 802 h 1655"/>
                <a:gd name="T56" fmla="*/ 393 w 434"/>
                <a:gd name="T57" fmla="*/ 718 h 1655"/>
                <a:gd name="T58" fmla="*/ 408 w 434"/>
                <a:gd name="T59" fmla="*/ 657 h 1655"/>
                <a:gd name="T60" fmla="*/ 433 w 434"/>
                <a:gd name="T61" fmla="*/ 572 h 1655"/>
                <a:gd name="T62" fmla="*/ 418 w 434"/>
                <a:gd name="T63" fmla="*/ 507 h 1655"/>
                <a:gd name="T64" fmla="*/ 373 w 434"/>
                <a:gd name="T65" fmla="*/ 389 h 1655"/>
                <a:gd name="T66" fmla="*/ 349 w 434"/>
                <a:gd name="T67" fmla="*/ 328 h 1655"/>
                <a:gd name="T68" fmla="*/ 324 w 434"/>
                <a:gd name="T69" fmla="*/ 262 h 1655"/>
                <a:gd name="T70" fmla="*/ 242 w 434"/>
                <a:gd name="T71" fmla="*/ 236 h 1655"/>
                <a:gd name="T72" fmla="*/ 226 w 434"/>
                <a:gd name="T73" fmla="*/ 218 h 1655"/>
                <a:gd name="T74" fmla="*/ 245 w 434"/>
                <a:gd name="T75" fmla="*/ 176 h 1655"/>
                <a:gd name="T76" fmla="*/ 230 w 434"/>
                <a:gd name="T77" fmla="*/ 80 h 1655"/>
                <a:gd name="T78" fmla="*/ 167 w 434"/>
                <a:gd name="T79" fmla="*/ 1 h 1655"/>
                <a:gd name="T80" fmla="*/ 102 w 434"/>
                <a:gd name="T81" fmla="*/ 15 h 1655"/>
                <a:gd name="T82" fmla="*/ 53 w 434"/>
                <a:gd name="T83" fmla="*/ 103 h 1655"/>
                <a:gd name="T84" fmla="*/ 44 w 434"/>
                <a:gd name="T85" fmla="*/ 142 h 1655"/>
                <a:gd name="T86" fmla="*/ 46 w 434"/>
                <a:gd name="T87" fmla="*/ 179 h 1655"/>
                <a:gd name="T88" fmla="*/ 82 w 434"/>
                <a:gd name="T89" fmla="*/ 225 h 1655"/>
                <a:gd name="T90" fmla="*/ 91 w 434"/>
                <a:gd name="T91" fmla="*/ 227 h 1655"/>
                <a:gd name="T92" fmla="*/ 63 w 434"/>
                <a:gd name="T93" fmla="*/ 257 h 1655"/>
                <a:gd name="T94" fmla="*/ 18 w 434"/>
                <a:gd name="T95" fmla="*/ 290 h 1655"/>
                <a:gd name="T96" fmla="*/ 18 w 434"/>
                <a:gd name="T97" fmla="*/ 364 h 1655"/>
                <a:gd name="T98" fmla="*/ 13 w 434"/>
                <a:gd name="T99" fmla="*/ 442 h 1655"/>
                <a:gd name="T100" fmla="*/ 8 w 434"/>
                <a:gd name="T101" fmla="*/ 498 h 1655"/>
                <a:gd name="T102" fmla="*/ 298 w 434"/>
                <a:gd name="T103" fmla="*/ 538 h 1655"/>
                <a:gd name="T104" fmla="*/ 325 w 434"/>
                <a:gd name="T105" fmla="*/ 534 h 1655"/>
                <a:gd name="T106" fmla="*/ 322 w 434"/>
                <a:gd name="T107" fmla="*/ 583 h 1655"/>
                <a:gd name="T108" fmla="*/ 319 w 434"/>
                <a:gd name="T109" fmla="*/ 659 h 1655"/>
                <a:gd name="T110" fmla="*/ 307 w 434"/>
                <a:gd name="T111" fmla="*/ 620 h 1655"/>
                <a:gd name="T112" fmla="*/ 295 w 434"/>
                <a:gd name="T113" fmla="*/ 566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4" h="1655">
                  <a:moveTo>
                    <a:pt x="8" y="498"/>
                  </a:moveTo>
                  <a:cubicBezTo>
                    <a:pt x="4" y="506"/>
                    <a:pt x="0" y="513"/>
                    <a:pt x="4" y="522"/>
                  </a:cubicBezTo>
                  <a:cubicBezTo>
                    <a:pt x="6" y="527"/>
                    <a:pt x="7" y="532"/>
                    <a:pt x="8" y="537"/>
                  </a:cubicBezTo>
                  <a:cubicBezTo>
                    <a:pt x="10" y="545"/>
                    <a:pt x="11" y="554"/>
                    <a:pt x="12" y="562"/>
                  </a:cubicBezTo>
                  <a:cubicBezTo>
                    <a:pt x="14" y="574"/>
                    <a:pt x="15" y="586"/>
                    <a:pt x="16" y="598"/>
                  </a:cubicBezTo>
                  <a:cubicBezTo>
                    <a:pt x="16" y="600"/>
                    <a:pt x="16" y="603"/>
                    <a:pt x="16" y="605"/>
                  </a:cubicBezTo>
                  <a:cubicBezTo>
                    <a:pt x="15" y="614"/>
                    <a:pt x="17" y="621"/>
                    <a:pt x="20" y="629"/>
                  </a:cubicBezTo>
                  <a:cubicBezTo>
                    <a:pt x="21" y="632"/>
                    <a:pt x="22" y="635"/>
                    <a:pt x="22" y="638"/>
                  </a:cubicBezTo>
                  <a:cubicBezTo>
                    <a:pt x="21" y="654"/>
                    <a:pt x="25" y="671"/>
                    <a:pt x="29" y="687"/>
                  </a:cubicBezTo>
                  <a:cubicBezTo>
                    <a:pt x="31" y="694"/>
                    <a:pt x="29" y="701"/>
                    <a:pt x="28" y="708"/>
                  </a:cubicBezTo>
                  <a:cubicBezTo>
                    <a:pt x="27" y="715"/>
                    <a:pt x="25" y="722"/>
                    <a:pt x="24" y="729"/>
                  </a:cubicBezTo>
                  <a:cubicBezTo>
                    <a:pt x="23" y="736"/>
                    <a:pt x="26" y="742"/>
                    <a:pt x="32" y="745"/>
                  </a:cubicBezTo>
                  <a:cubicBezTo>
                    <a:pt x="34" y="746"/>
                    <a:pt x="35" y="747"/>
                    <a:pt x="37" y="748"/>
                  </a:cubicBezTo>
                  <a:cubicBezTo>
                    <a:pt x="30" y="760"/>
                    <a:pt x="28" y="773"/>
                    <a:pt x="28" y="787"/>
                  </a:cubicBezTo>
                  <a:cubicBezTo>
                    <a:pt x="31" y="791"/>
                    <a:pt x="35" y="790"/>
                    <a:pt x="39" y="790"/>
                  </a:cubicBezTo>
                  <a:cubicBezTo>
                    <a:pt x="41" y="794"/>
                    <a:pt x="42" y="798"/>
                    <a:pt x="42" y="803"/>
                  </a:cubicBezTo>
                  <a:cubicBezTo>
                    <a:pt x="42" y="816"/>
                    <a:pt x="43" y="830"/>
                    <a:pt x="44" y="843"/>
                  </a:cubicBezTo>
                  <a:cubicBezTo>
                    <a:pt x="44" y="850"/>
                    <a:pt x="46" y="857"/>
                    <a:pt x="47" y="864"/>
                  </a:cubicBezTo>
                  <a:cubicBezTo>
                    <a:pt x="48" y="874"/>
                    <a:pt x="50" y="884"/>
                    <a:pt x="51" y="893"/>
                  </a:cubicBezTo>
                  <a:cubicBezTo>
                    <a:pt x="54" y="906"/>
                    <a:pt x="56" y="918"/>
                    <a:pt x="59" y="930"/>
                  </a:cubicBezTo>
                  <a:cubicBezTo>
                    <a:pt x="66" y="959"/>
                    <a:pt x="74" y="987"/>
                    <a:pt x="81" y="1016"/>
                  </a:cubicBezTo>
                  <a:cubicBezTo>
                    <a:pt x="86" y="1033"/>
                    <a:pt x="90" y="1050"/>
                    <a:pt x="93" y="1066"/>
                  </a:cubicBezTo>
                  <a:cubicBezTo>
                    <a:pt x="95" y="1072"/>
                    <a:pt x="95" y="1077"/>
                    <a:pt x="96" y="1082"/>
                  </a:cubicBezTo>
                  <a:cubicBezTo>
                    <a:pt x="97" y="1093"/>
                    <a:pt x="98" y="1103"/>
                    <a:pt x="99" y="1114"/>
                  </a:cubicBezTo>
                  <a:cubicBezTo>
                    <a:pt x="101" y="1125"/>
                    <a:pt x="102" y="1136"/>
                    <a:pt x="104" y="1147"/>
                  </a:cubicBezTo>
                  <a:cubicBezTo>
                    <a:pt x="106" y="1159"/>
                    <a:pt x="108" y="1172"/>
                    <a:pt x="110" y="1184"/>
                  </a:cubicBezTo>
                  <a:cubicBezTo>
                    <a:pt x="113" y="1201"/>
                    <a:pt x="117" y="1218"/>
                    <a:pt x="121" y="1235"/>
                  </a:cubicBezTo>
                  <a:cubicBezTo>
                    <a:pt x="125" y="1254"/>
                    <a:pt x="130" y="1272"/>
                    <a:pt x="134" y="1290"/>
                  </a:cubicBezTo>
                  <a:cubicBezTo>
                    <a:pt x="137" y="1301"/>
                    <a:pt x="137" y="1312"/>
                    <a:pt x="135" y="1323"/>
                  </a:cubicBezTo>
                  <a:cubicBezTo>
                    <a:pt x="135" y="1324"/>
                    <a:pt x="135" y="1326"/>
                    <a:pt x="135" y="1327"/>
                  </a:cubicBezTo>
                  <a:cubicBezTo>
                    <a:pt x="134" y="1345"/>
                    <a:pt x="134" y="1363"/>
                    <a:pt x="133" y="1381"/>
                  </a:cubicBezTo>
                  <a:cubicBezTo>
                    <a:pt x="131" y="1400"/>
                    <a:pt x="133" y="1419"/>
                    <a:pt x="131" y="1438"/>
                  </a:cubicBezTo>
                  <a:cubicBezTo>
                    <a:pt x="130" y="1455"/>
                    <a:pt x="131" y="1471"/>
                    <a:pt x="130" y="1488"/>
                  </a:cubicBezTo>
                  <a:cubicBezTo>
                    <a:pt x="130" y="1491"/>
                    <a:pt x="129" y="1494"/>
                    <a:pt x="127" y="1498"/>
                  </a:cubicBezTo>
                  <a:cubicBezTo>
                    <a:pt x="126" y="1503"/>
                    <a:pt x="124" y="1507"/>
                    <a:pt x="122" y="1512"/>
                  </a:cubicBezTo>
                  <a:cubicBezTo>
                    <a:pt x="120" y="1515"/>
                    <a:pt x="119" y="1518"/>
                    <a:pt x="118" y="1520"/>
                  </a:cubicBezTo>
                  <a:cubicBezTo>
                    <a:pt x="105" y="1522"/>
                    <a:pt x="94" y="1525"/>
                    <a:pt x="83" y="1527"/>
                  </a:cubicBezTo>
                  <a:cubicBezTo>
                    <a:pt x="81" y="1528"/>
                    <a:pt x="79" y="1529"/>
                    <a:pt x="76" y="1530"/>
                  </a:cubicBezTo>
                  <a:cubicBezTo>
                    <a:pt x="72" y="1531"/>
                    <a:pt x="70" y="1534"/>
                    <a:pt x="70" y="1539"/>
                  </a:cubicBezTo>
                  <a:cubicBezTo>
                    <a:pt x="69" y="1541"/>
                    <a:pt x="69" y="1544"/>
                    <a:pt x="69" y="1546"/>
                  </a:cubicBezTo>
                  <a:cubicBezTo>
                    <a:pt x="72" y="1555"/>
                    <a:pt x="80" y="1559"/>
                    <a:pt x="89" y="1562"/>
                  </a:cubicBezTo>
                  <a:cubicBezTo>
                    <a:pt x="97" y="1564"/>
                    <a:pt x="105" y="1565"/>
                    <a:pt x="112" y="1566"/>
                  </a:cubicBezTo>
                  <a:cubicBezTo>
                    <a:pt x="120" y="1568"/>
                    <a:pt x="122" y="1570"/>
                    <a:pt x="122" y="1579"/>
                  </a:cubicBezTo>
                  <a:cubicBezTo>
                    <a:pt x="122" y="1587"/>
                    <a:pt x="120" y="1595"/>
                    <a:pt x="118" y="1603"/>
                  </a:cubicBezTo>
                  <a:cubicBezTo>
                    <a:pt x="116" y="1610"/>
                    <a:pt x="114" y="1618"/>
                    <a:pt x="115" y="1626"/>
                  </a:cubicBezTo>
                  <a:cubicBezTo>
                    <a:pt x="116" y="1641"/>
                    <a:pt x="132" y="1655"/>
                    <a:pt x="152" y="1651"/>
                  </a:cubicBezTo>
                  <a:cubicBezTo>
                    <a:pt x="166" y="1648"/>
                    <a:pt x="179" y="1642"/>
                    <a:pt x="192" y="1635"/>
                  </a:cubicBezTo>
                  <a:cubicBezTo>
                    <a:pt x="199" y="1631"/>
                    <a:pt x="205" y="1624"/>
                    <a:pt x="206" y="1615"/>
                  </a:cubicBezTo>
                  <a:cubicBezTo>
                    <a:pt x="209" y="1604"/>
                    <a:pt x="213" y="1601"/>
                    <a:pt x="226" y="1599"/>
                  </a:cubicBezTo>
                  <a:cubicBezTo>
                    <a:pt x="232" y="1598"/>
                    <a:pt x="239" y="1597"/>
                    <a:pt x="244" y="1595"/>
                  </a:cubicBezTo>
                  <a:cubicBezTo>
                    <a:pt x="253" y="1591"/>
                    <a:pt x="257" y="1584"/>
                    <a:pt x="258" y="1574"/>
                  </a:cubicBezTo>
                  <a:cubicBezTo>
                    <a:pt x="258" y="1568"/>
                    <a:pt x="259" y="1562"/>
                    <a:pt x="261" y="1556"/>
                  </a:cubicBezTo>
                  <a:cubicBezTo>
                    <a:pt x="263" y="1546"/>
                    <a:pt x="270" y="1540"/>
                    <a:pt x="278" y="1535"/>
                  </a:cubicBezTo>
                  <a:cubicBezTo>
                    <a:pt x="286" y="1530"/>
                    <a:pt x="289" y="1525"/>
                    <a:pt x="287" y="1516"/>
                  </a:cubicBezTo>
                  <a:cubicBezTo>
                    <a:pt x="286" y="1509"/>
                    <a:pt x="286" y="1502"/>
                    <a:pt x="285" y="1496"/>
                  </a:cubicBezTo>
                  <a:cubicBezTo>
                    <a:pt x="285" y="1490"/>
                    <a:pt x="284" y="1485"/>
                    <a:pt x="284" y="1480"/>
                  </a:cubicBezTo>
                  <a:cubicBezTo>
                    <a:pt x="282" y="1467"/>
                    <a:pt x="280" y="1453"/>
                    <a:pt x="279" y="1440"/>
                  </a:cubicBezTo>
                  <a:cubicBezTo>
                    <a:pt x="278" y="1432"/>
                    <a:pt x="278" y="1424"/>
                    <a:pt x="277" y="1415"/>
                  </a:cubicBezTo>
                  <a:cubicBezTo>
                    <a:pt x="276" y="1407"/>
                    <a:pt x="275" y="1398"/>
                    <a:pt x="274" y="1389"/>
                  </a:cubicBezTo>
                  <a:cubicBezTo>
                    <a:pt x="274" y="1382"/>
                    <a:pt x="273" y="1375"/>
                    <a:pt x="272" y="1368"/>
                  </a:cubicBezTo>
                  <a:cubicBezTo>
                    <a:pt x="271" y="1359"/>
                    <a:pt x="270" y="1350"/>
                    <a:pt x="269" y="1341"/>
                  </a:cubicBezTo>
                  <a:cubicBezTo>
                    <a:pt x="269" y="1336"/>
                    <a:pt x="268" y="1330"/>
                    <a:pt x="268" y="1325"/>
                  </a:cubicBezTo>
                  <a:cubicBezTo>
                    <a:pt x="267" y="1310"/>
                    <a:pt x="264" y="1295"/>
                    <a:pt x="267" y="1280"/>
                  </a:cubicBezTo>
                  <a:cubicBezTo>
                    <a:pt x="268" y="1276"/>
                    <a:pt x="267" y="1271"/>
                    <a:pt x="267" y="1267"/>
                  </a:cubicBezTo>
                  <a:cubicBezTo>
                    <a:pt x="267" y="1255"/>
                    <a:pt x="268" y="1244"/>
                    <a:pt x="270" y="1233"/>
                  </a:cubicBezTo>
                  <a:cubicBezTo>
                    <a:pt x="271" y="1231"/>
                    <a:pt x="271" y="1230"/>
                    <a:pt x="271" y="1228"/>
                  </a:cubicBezTo>
                  <a:cubicBezTo>
                    <a:pt x="270" y="1213"/>
                    <a:pt x="272" y="1199"/>
                    <a:pt x="274" y="1184"/>
                  </a:cubicBezTo>
                  <a:cubicBezTo>
                    <a:pt x="274" y="1183"/>
                    <a:pt x="274" y="1182"/>
                    <a:pt x="274" y="1181"/>
                  </a:cubicBezTo>
                  <a:cubicBezTo>
                    <a:pt x="274" y="1163"/>
                    <a:pt x="275" y="1144"/>
                    <a:pt x="279" y="1126"/>
                  </a:cubicBezTo>
                  <a:cubicBezTo>
                    <a:pt x="281" y="1111"/>
                    <a:pt x="283" y="1096"/>
                    <a:pt x="285" y="1081"/>
                  </a:cubicBezTo>
                  <a:cubicBezTo>
                    <a:pt x="286" y="1070"/>
                    <a:pt x="287" y="1059"/>
                    <a:pt x="289" y="1049"/>
                  </a:cubicBezTo>
                  <a:cubicBezTo>
                    <a:pt x="290" y="1037"/>
                    <a:pt x="292" y="1026"/>
                    <a:pt x="293" y="1014"/>
                  </a:cubicBezTo>
                  <a:cubicBezTo>
                    <a:pt x="294" y="1006"/>
                    <a:pt x="294" y="998"/>
                    <a:pt x="295" y="990"/>
                  </a:cubicBezTo>
                  <a:cubicBezTo>
                    <a:pt x="296" y="982"/>
                    <a:pt x="297" y="973"/>
                    <a:pt x="298" y="965"/>
                  </a:cubicBezTo>
                  <a:cubicBezTo>
                    <a:pt x="298" y="962"/>
                    <a:pt x="298" y="959"/>
                    <a:pt x="298" y="957"/>
                  </a:cubicBezTo>
                  <a:cubicBezTo>
                    <a:pt x="300" y="943"/>
                    <a:pt x="300" y="929"/>
                    <a:pt x="305" y="915"/>
                  </a:cubicBezTo>
                  <a:cubicBezTo>
                    <a:pt x="308" y="908"/>
                    <a:pt x="309" y="900"/>
                    <a:pt x="312" y="892"/>
                  </a:cubicBezTo>
                  <a:cubicBezTo>
                    <a:pt x="314" y="885"/>
                    <a:pt x="315" y="878"/>
                    <a:pt x="315" y="871"/>
                  </a:cubicBezTo>
                  <a:cubicBezTo>
                    <a:pt x="315" y="869"/>
                    <a:pt x="315" y="866"/>
                    <a:pt x="316" y="863"/>
                  </a:cubicBezTo>
                  <a:cubicBezTo>
                    <a:pt x="320" y="851"/>
                    <a:pt x="324" y="838"/>
                    <a:pt x="328" y="825"/>
                  </a:cubicBezTo>
                  <a:cubicBezTo>
                    <a:pt x="330" y="818"/>
                    <a:pt x="330" y="809"/>
                    <a:pt x="331" y="801"/>
                  </a:cubicBezTo>
                  <a:cubicBezTo>
                    <a:pt x="331" y="798"/>
                    <a:pt x="331" y="795"/>
                    <a:pt x="331" y="791"/>
                  </a:cubicBezTo>
                  <a:cubicBezTo>
                    <a:pt x="337" y="793"/>
                    <a:pt x="341" y="795"/>
                    <a:pt x="346" y="797"/>
                  </a:cubicBezTo>
                  <a:cubicBezTo>
                    <a:pt x="351" y="798"/>
                    <a:pt x="355" y="800"/>
                    <a:pt x="360" y="802"/>
                  </a:cubicBezTo>
                  <a:cubicBezTo>
                    <a:pt x="364" y="797"/>
                    <a:pt x="366" y="791"/>
                    <a:pt x="369" y="785"/>
                  </a:cubicBezTo>
                  <a:cubicBezTo>
                    <a:pt x="374" y="772"/>
                    <a:pt x="379" y="759"/>
                    <a:pt x="384" y="746"/>
                  </a:cubicBezTo>
                  <a:cubicBezTo>
                    <a:pt x="388" y="737"/>
                    <a:pt x="392" y="728"/>
                    <a:pt x="393" y="718"/>
                  </a:cubicBezTo>
                  <a:cubicBezTo>
                    <a:pt x="393" y="715"/>
                    <a:pt x="395" y="711"/>
                    <a:pt x="397" y="709"/>
                  </a:cubicBezTo>
                  <a:cubicBezTo>
                    <a:pt x="400" y="703"/>
                    <a:pt x="400" y="702"/>
                    <a:pt x="396" y="696"/>
                  </a:cubicBezTo>
                  <a:cubicBezTo>
                    <a:pt x="400" y="683"/>
                    <a:pt x="404" y="670"/>
                    <a:pt x="408" y="657"/>
                  </a:cubicBezTo>
                  <a:cubicBezTo>
                    <a:pt x="411" y="646"/>
                    <a:pt x="413" y="636"/>
                    <a:pt x="416" y="625"/>
                  </a:cubicBezTo>
                  <a:cubicBezTo>
                    <a:pt x="420" y="611"/>
                    <a:pt x="426" y="597"/>
                    <a:pt x="430" y="583"/>
                  </a:cubicBezTo>
                  <a:cubicBezTo>
                    <a:pt x="431" y="579"/>
                    <a:pt x="432" y="575"/>
                    <a:pt x="433" y="572"/>
                  </a:cubicBezTo>
                  <a:cubicBezTo>
                    <a:pt x="434" y="570"/>
                    <a:pt x="434" y="568"/>
                    <a:pt x="433" y="566"/>
                  </a:cubicBezTo>
                  <a:cubicBezTo>
                    <a:pt x="429" y="557"/>
                    <a:pt x="428" y="547"/>
                    <a:pt x="426" y="537"/>
                  </a:cubicBezTo>
                  <a:cubicBezTo>
                    <a:pt x="424" y="527"/>
                    <a:pt x="420" y="517"/>
                    <a:pt x="418" y="507"/>
                  </a:cubicBezTo>
                  <a:cubicBezTo>
                    <a:pt x="415" y="496"/>
                    <a:pt x="410" y="485"/>
                    <a:pt x="406" y="475"/>
                  </a:cubicBezTo>
                  <a:cubicBezTo>
                    <a:pt x="398" y="454"/>
                    <a:pt x="391" y="432"/>
                    <a:pt x="383" y="411"/>
                  </a:cubicBezTo>
                  <a:cubicBezTo>
                    <a:pt x="380" y="403"/>
                    <a:pt x="376" y="396"/>
                    <a:pt x="373" y="389"/>
                  </a:cubicBezTo>
                  <a:cubicBezTo>
                    <a:pt x="371" y="386"/>
                    <a:pt x="369" y="383"/>
                    <a:pt x="368" y="379"/>
                  </a:cubicBezTo>
                  <a:cubicBezTo>
                    <a:pt x="364" y="366"/>
                    <a:pt x="361" y="353"/>
                    <a:pt x="357" y="340"/>
                  </a:cubicBezTo>
                  <a:cubicBezTo>
                    <a:pt x="355" y="336"/>
                    <a:pt x="352" y="332"/>
                    <a:pt x="349" y="328"/>
                  </a:cubicBezTo>
                  <a:cubicBezTo>
                    <a:pt x="348" y="326"/>
                    <a:pt x="346" y="324"/>
                    <a:pt x="344" y="322"/>
                  </a:cubicBezTo>
                  <a:cubicBezTo>
                    <a:pt x="344" y="306"/>
                    <a:pt x="340" y="291"/>
                    <a:pt x="333" y="276"/>
                  </a:cubicBezTo>
                  <a:cubicBezTo>
                    <a:pt x="330" y="271"/>
                    <a:pt x="327" y="266"/>
                    <a:pt x="324" y="262"/>
                  </a:cubicBezTo>
                  <a:cubicBezTo>
                    <a:pt x="317" y="253"/>
                    <a:pt x="307" y="251"/>
                    <a:pt x="296" y="248"/>
                  </a:cubicBezTo>
                  <a:cubicBezTo>
                    <a:pt x="284" y="245"/>
                    <a:pt x="271" y="243"/>
                    <a:pt x="258" y="240"/>
                  </a:cubicBezTo>
                  <a:cubicBezTo>
                    <a:pt x="252" y="239"/>
                    <a:pt x="247" y="240"/>
                    <a:pt x="242" y="236"/>
                  </a:cubicBezTo>
                  <a:cubicBezTo>
                    <a:pt x="239" y="233"/>
                    <a:pt x="235" y="230"/>
                    <a:pt x="232" y="227"/>
                  </a:cubicBezTo>
                  <a:cubicBezTo>
                    <a:pt x="230" y="225"/>
                    <a:pt x="227" y="222"/>
                    <a:pt x="226" y="220"/>
                  </a:cubicBezTo>
                  <a:cubicBezTo>
                    <a:pt x="226" y="219"/>
                    <a:pt x="226" y="219"/>
                    <a:pt x="226" y="218"/>
                  </a:cubicBezTo>
                  <a:cubicBezTo>
                    <a:pt x="226" y="215"/>
                    <a:pt x="229" y="212"/>
                    <a:pt x="232" y="210"/>
                  </a:cubicBezTo>
                  <a:cubicBezTo>
                    <a:pt x="234" y="209"/>
                    <a:pt x="235" y="207"/>
                    <a:pt x="237" y="205"/>
                  </a:cubicBezTo>
                  <a:cubicBezTo>
                    <a:pt x="242" y="196"/>
                    <a:pt x="245" y="186"/>
                    <a:pt x="245" y="176"/>
                  </a:cubicBezTo>
                  <a:cubicBezTo>
                    <a:pt x="245" y="161"/>
                    <a:pt x="243" y="147"/>
                    <a:pt x="238" y="133"/>
                  </a:cubicBezTo>
                  <a:cubicBezTo>
                    <a:pt x="236" y="126"/>
                    <a:pt x="233" y="117"/>
                    <a:pt x="234" y="110"/>
                  </a:cubicBezTo>
                  <a:cubicBezTo>
                    <a:pt x="235" y="99"/>
                    <a:pt x="232" y="90"/>
                    <a:pt x="230" y="80"/>
                  </a:cubicBezTo>
                  <a:cubicBezTo>
                    <a:pt x="228" y="63"/>
                    <a:pt x="222" y="49"/>
                    <a:pt x="213" y="35"/>
                  </a:cubicBezTo>
                  <a:cubicBezTo>
                    <a:pt x="206" y="24"/>
                    <a:pt x="197" y="14"/>
                    <a:pt x="186" y="6"/>
                  </a:cubicBezTo>
                  <a:cubicBezTo>
                    <a:pt x="180" y="2"/>
                    <a:pt x="174" y="0"/>
                    <a:pt x="167" y="1"/>
                  </a:cubicBezTo>
                  <a:cubicBezTo>
                    <a:pt x="162" y="2"/>
                    <a:pt x="156" y="1"/>
                    <a:pt x="150" y="2"/>
                  </a:cubicBezTo>
                  <a:cubicBezTo>
                    <a:pt x="146" y="2"/>
                    <a:pt x="142" y="3"/>
                    <a:pt x="138" y="6"/>
                  </a:cubicBezTo>
                  <a:cubicBezTo>
                    <a:pt x="124" y="1"/>
                    <a:pt x="113" y="6"/>
                    <a:pt x="102" y="15"/>
                  </a:cubicBezTo>
                  <a:cubicBezTo>
                    <a:pt x="86" y="26"/>
                    <a:pt x="76" y="42"/>
                    <a:pt x="68" y="59"/>
                  </a:cubicBezTo>
                  <a:cubicBezTo>
                    <a:pt x="66" y="64"/>
                    <a:pt x="64" y="69"/>
                    <a:pt x="61" y="72"/>
                  </a:cubicBezTo>
                  <a:cubicBezTo>
                    <a:pt x="54" y="81"/>
                    <a:pt x="53" y="92"/>
                    <a:pt x="53" y="103"/>
                  </a:cubicBezTo>
                  <a:cubicBezTo>
                    <a:pt x="52" y="111"/>
                    <a:pt x="52" y="120"/>
                    <a:pt x="47" y="128"/>
                  </a:cubicBezTo>
                  <a:cubicBezTo>
                    <a:pt x="48" y="129"/>
                    <a:pt x="49" y="131"/>
                    <a:pt x="50" y="133"/>
                  </a:cubicBezTo>
                  <a:cubicBezTo>
                    <a:pt x="48" y="136"/>
                    <a:pt x="46" y="139"/>
                    <a:pt x="44" y="142"/>
                  </a:cubicBezTo>
                  <a:cubicBezTo>
                    <a:pt x="41" y="146"/>
                    <a:pt x="40" y="149"/>
                    <a:pt x="43" y="153"/>
                  </a:cubicBezTo>
                  <a:cubicBezTo>
                    <a:pt x="45" y="158"/>
                    <a:pt x="45" y="163"/>
                    <a:pt x="44" y="169"/>
                  </a:cubicBezTo>
                  <a:cubicBezTo>
                    <a:pt x="43" y="172"/>
                    <a:pt x="44" y="176"/>
                    <a:pt x="46" y="179"/>
                  </a:cubicBezTo>
                  <a:cubicBezTo>
                    <a:pt x="50" y="187"/>
                    <a:pt x="54" y="195"/>
                    <a:pt x="59" y="202"/>
                  </a:cubicBezTo>
                  <a:cubicBezTo>
                    <a:pt x="63" y="210"/>
                    <a:pt x="69" y="216"/>
                    <a:pt x="76" y="221"/>
                  </a:cubicBezTo>
                  <a:cubicBezTo>
                    <a:pt x="78" y="222"/>
                    <a:pt x="80" y="224"/>
                    <a:pt x="82" y="225"/>
                  </a:cubicBezTo>
                  <a:cubicBezTo>
                    <a:pt x="81" y="224"/>
                    <a:pt x="85" y="223"/>
                    <a:pt x="85" y="222"/>
                  </a:cubicBezTo>
                  <a:cubicBezTo>
                    <a:pt x="87" y="222"/>
                    <a:pt x="90" y="222"/>
                    <a:pt x="91" y="224"/>
                  </a:cubicBezTo>
                  <a:cubicBezTo>
                    <a:pt x="92" y="224"/>
                    <a:pt x="92" y="226"/>
                    <a:pt x="91" y="227"/>
                  </a:cubicBezTo>
                  <a:cubicBezTo>
                    <a:pt x="91" y="228"/>
                    <a:pt x="90" y="229"/>
                    <a:pt x="89" y="230"/>
                  </a:cubicBezTo>
                  <a:cubicBezTo>
                    <a:pt x="84" y="235"/>
                    <a:pt x="80" y="240"/>
                    <a:pt x="76" y="244"/>
                  </a:cubicBezTo>
                  <a:cubicBezTo>
                    <a:pt x="72" y="248"/>
                    <a:pt x="68" y="253"/>
                    <a:pt x="63" y="257"/>
                  </a:cubicBezTo>
                  <a:cubicBezTo>
                    <a:pt x="63" y="257"/>
                    <a:pt x="63" y="257"/>
                    <a:pt x="62" y="257"/>
                  </a:cubicBezTo>
                  <a:cubicBezTo>
                    <a:pt x="54" y="262"/>
                    <a:pt x="43" y="263"/>
                    <a:pt x="34" y="268"/>
                  </a:cubicBezTo>
                  <a:cubicBezTo>
                    <a:pt x="26" y="273"/>
                    <a:pt x="20" y="280"/>
                    <a:pt x="18" y="290"/>
                  </a:cubicBezTo>
                  <a:cubicBezTo>
                    <a:pt x="13" y="308"/>
                    <a:pt x="12" y="326"/>
                    <a:pt x="16" y="344"/>
                  </a:cubicBezTo>
                  <a:cubicBezTo>
                    <a:pt x="17" y="347"/>
                    <a:pt x="18" y="350"/>
                    <a:pt x="19" y="354"/>
                  </a:cubicBezTo>
                  <a:cubicBezTo>
                    <a:pt x="21" y="358"/>
                    <a:pt x="21" y="361"/>
                    <a:pt x="18" y="364"/>
                  </a:cubicBezTo>
                  <a:cubicBezTo>
                    <a:pt x="14" y="369"/>
                    <a:pt x="12" y="375"/>
                    <a:pt x="12" y="382"/>
                  </a:cubicBezTo>
                  <a:cubicBezTo>
                    <a:pt x="13" y="398"/>
                    <a:pt x="14" y="415"/>
                    <a:pt x="14" y="431"/>
                  </a:cubicBezTo>
                  <a:cubicBezTo>
                    <a:pt x="14" y="435"/>
                    <a:pt x="12" y="439"/>
                    <a:pt x="13" y="442"/>
                  </a:cubicBezTo>
                  <a:cubicBezTo>
                    <a:pt x="14" y="451"/>
                    <a:pt x="13" y="460"/>
                    <a:pt x="11" y="468"/>
                  </a:cubicBezTo>
                  <a:cubicBezTo>
                    <a:pt x="10" y="471"/>
                    <a:pt x="12" y="475"/>
                    <a:pt x="12" y="478"/>
                  </a:cubicBezTo>
                  <a:cubicBezTo>
                    <a:pt x="5" y="488"/>
                    <a:pt x="5" y="488"/>
                    <a:pt x="8" y="498"/>
                  </a:cubicBezTo>
                  <a:close/>
                  <a:moveTo>
                    <a:pt x="295" y="566"/>
                  </a:moveTo>
                  <a:cubicBezTo>
                    <a:pt x="295" y="566"/>
                    <a:pt x="295" y="565"/>
                    <a:pt x="295" y="564"/>
                  </a:cubicBezTo>
                  <a:cubicBezTo>
                    <a:pt x="296" y="555"/>
                    <a:pt x="293" y="546"/>
                    <a:pt x="298" y="538"/>
                  </a:cubicBezTo>
                  <a:cubicBezTo>
                    <a:pt x="298" y="537"/>
                    <a:pt x="298" y="537"/>
                    <a:pt x="298" y="536"/>
                  </a:cubicBezTo>
                  <a:cubicBezTo>
                    <a:pt x="298" y="528"/>
                    <a:pt x="304" y="522"/>
                    <a:pt x="308" y="514"/>
                  </a:cubicBezTo>
                  <a:cubicBezTo>
                    <a:pt x="312" y="523"/>
                    <a:pt x="319" y="528"/>
                    <a:pt x="325" y="534"/>
                  </a:cubicBezTo>
                  <a:cubicBezTo>
                    <a:pt x="328" y="537"/>
                    <a:pt x="328" y="539"/>
                    <a:pt x="326" y="543"/>
                  </a:cubicBezTo>
                  <a:cubicBezTo>
                    <a:pt x="324" y="545"/>
                    <a:pt x="322" y="548"/>
                    <a:pt x="322" y="550"/>
                  </a:cubicBezTo>
                  <a:cubicBezTo>
                    <a:pt x="322" y="561"/>
                    <a:pt x="321" y="572"/>
                    <a:pt x="322" y="583"/>
                  </a:cubicBezTo>
                  <a:cubicBezTo>
                    <a:pt x="323" y="585"/>
                    <a:pt x="324" y="589"/>
                    <a:pt x="324" y="592"/>
                  </a:cubicBezTo>
                  <a:cubicBezTo>
                    <a:pt x="324" y="607"/>
                    <a:pt x="324" y="623"/>
                    <a:pt x="324" y="638"/>
                  </a:cubicBezTo>
                  <a:cubicBezTo>
                    <a:pt x="325" y="646"/>
                    <a:pt x="321" y="652"/>
                    <a:pt x="319" y="659"/>
                  </a:cubicBezTo>
                  <a:cubicBezTo>
                    <a:pt x="319" y="652"/>
                    <a:pt x="317" y="646"/>
                    <a:pt x="313" y="640"/>
                  </a:cubicBezTo>
                  <a:cubicBezTo>
                    <a:pt x="312" y="639"/>
                    <a:pt x="311" y="638"/>
                    <a:pt x="311" y="637"/>
                  </a:cubicBezTo>
                  <a:cubicBezTo>
                    <a:pt x="313" y="630"/>
                    <a:pt x="309" y="625"/>
                    <a:pt x="307" y="620"/>
                  </a:cubicBezTo>
                  <a:cubicBezTo>
                    <a:pt x="305" y="612"/>
                    <a:pt x="301" y="604"/>
                    <a:pt x="301" y="596"/>
                  </a:cubicBezTo>
                  <a:cubicBezTo>
                    <a:pt x="301" y="595"/>
                    <a:pt x="301" y="594"/>
                    <a:pt x="300" y="593"/>
                  </a:cubicBezTo>
                  <a:cubicBezTo>
                    <a:pt x="297" y="584"/>
                    <a:pt x="294" y="576"/>
                    <a:pt x="295" y="5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0"/>
              </a:endParaRPr>
            </a:p>
          </p:txBody>
        </p: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683CF905-CE7B-43D5-A106-E57000957CA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023191" y="5703182"/>
            <a:ext cx="3676331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Official Approval Process 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1F027A02-9CD1-4889-B9A9-33F46DEACBC0}"/>
              </a:ext>
            </a:extLst>
          </p:cNvPr>
          <p:cNvSpPr/>
          <p:nvPr/>
        </p:nvSpPr>
        <p:spPr>
          <a:xfrm>
            <a:off x="7070233" y="5443195"/>
            <a:ext cx="725784" cy="746898"/>
          </a:xfrm>
          <a:prstGeom prst="ellipse">
            <a:avLst/>
          </a:prstGeom>
          <a:solidFill>
            <a:schemeClr val="bg2">
              <a:lumMod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FEA00BCB-52A9-4754-AC28-2F1C9BD96805}"/>
              </a:ext>
            </a:extLst>
          </p:cNvPr>
          <p:cNvSpPr/>
          <p:nvPr/>
        </p:nvSpPr>
        <p:spPr>
          <a:xfrm>
            <a:off x="7182858" y="5543049"/>
            <a:ext cx="500226" cy="519296"/>
          </a:xfrm>
          <a:prstGeom prst="ellipse">
            <a:avLst/>
          </a:prstGeom>
          <a:solidFill>
            <a:srgbClr val="FF453A"/>
          </a:solidFill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104" name="Freeform 1675">
            <a:extLst>
              <a:ext uri="{FF2B5EF4-FFF2-40B4-BE49-F238E27FC236}">
                <a16:creationId xmlns:a16="http://schemas.microsoft.com/office/drawing/2014/main" id="{57D581E1-85AF-4EAA-A01E-AE8F8603157D}"/>
              </a:ext>
            </a:extLst>
          </p:cNvPr>
          <p:cNvSpPr>
            <a:spLocks/>
          </p:cNvSpPr>
          <p:nvPr/>
        </p:nvSpPr>
        <p:spPr bwMode="auto">
          <a:xfrm>
            <a:off x="7310866" y="5685312"/>
            <a:ext cx="276950" cy="235406"/>
          </a:xfrm>
          <a:custGeom>
            <a:avLst/>
            <a:gdLst>
              <a:gd name="T0" fmla="*/ 716 w 719"/>
              <a:gd name="T1" fmla="*/ 109 h 611"/>
              <a:gd name="T2" fmla="*/ 610 w 719"/>
              <a:gd name="T3" fmla="*/ 3 h 611"/>
              <a:gd name="T4" fmla="*/ 607 w 719"/>
              <a:gd name="T5" fmla="*/ 1 h 611"/>
              <a:gd name="T6" fmla="*/ 601 w 719"/>
              <a:gd name="T7" fmla="*/ 0 h 611"/>
              <a:gd name="T8" fmla="*/ 597 w 719"/>
              <a:gd name="T9" fmla="*/ 1 h 611"/>
              <a:gd name="T10" fmla="*/ 593 w 719"/>
              <a:gd name="T11" fmla="*/ 3 h 611"/>
              <a:gd name="T12" fmla="*/ 225 w 719"/>
              <a:gd name="T13" fmla="*/ 372 h 611"/>
              <a:gd name="T14" fmla="*/ 126 w 719"/>
              <a:gd name="T15" fmla="*/ 274 h 611"/>
              <a:gd name="T16" fmla="*/ 123 w 719"/>
              <a:gd name="T17" fmla="*/ 272 h 611"/>
              <a:gd name="T18" fmla="*/ 119 w 719"/>
              <a:gd name="T19" fmla="*/ 271 h 611"/>
              <a:gd name="T20" fmla="*/ 114 w 719"/>
              <a:gd name="T21" fmla="*/ 272 h 611"/>
              <a:gd name="T22" fmla="*/ 110 w 719"/>
              <a:gd name="T23" fmla="*/ 274 h 611"/>
              <a:gd name="T24" fmla="*/ 4 w 719"/>
              <a:gd name="T25" fmla="*/ 380 h 611"/>
              <a:gd name="T26" fmla="*/ 2 w 719"/>
              <a:gd name="T27" fmla="*/ 385 h 611"/>
              <a:gd name="T28" fmla="*/ 0 w 719"/>
              <a:gd name="T29" fmla="*/ 389 h 611"/>
              <a:gd name="T30" fmla="*/ 2 w 719"/>
              <a:gd name="T31" fmla="*/ 394 h 611"/>
              <a:gd name="T32" fmla="*/ 4 w 719"/>
              <a:gd name="T33" fmla="*/ 397 h 611"/>
              <a:gd name="T34" fmla="*/ 216 w 719"/>
              <a:gd name="T35" fmla="*/ 608 h 611"/>
              <a:gd name="T36" fmla="*/ 219 w 719"/>
              <a:gd name="T37" fmla="*/ 610 h 611"/>
              <a:gd name="T38" fmla="*/ 225 w 719"/>
              <a:gd name="T39" fmla="*/ 611 h 611"/>
              <a:gd name="T40" fmla="*/ 229 w 719"/>
              <a:gd name="T41" fmla="*/ 610 h 611"/>
              <a:gd name="T42" fmla="*/ 232 w 719"/>
              <a:gd name="T43" fmla="*/ 608 h 611"/>
              <a:gd name="T44" fmla="*/ 716 w 719"/>
              <a:gd name="T45" fmla="*/ 125 h 611"/>
              <a:gd name="T46" fmla="*/ 718 w 719"/>
              <a:gd name="T47" fmla="*/ 122 h 611"/>
              <a:gd name="T48" fmla="*/ 719 w 719"/>
              <a:gd name="T49" fmla="*/ 117 h 611"/>
              <a:gd name="T50" fmla="*/ 718 w 719"/>
              <a:gd name="T51" fmla="*/ 112 h 611"/>
              <a:gd name="T52" fmla="*/ 716 w 719"/>
              <a:gd name="T53" fmla="*/ 109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9" h="611">
                <a:moveTo>
                  <a:pt x="716" y="109"/>
                </a:moveTo>
                <a:lnTo>
                  <a:pt x="610" y="3"/>
                </a:lnTo>
                <a:lnTo>
                  <a:pt x="607" y="1"/>
                </a:lnTo>
                <a:lnTo>
                  <a:pt x="601" y="0"/>
                </a:lnTo>
                <a:lnTo>
                  <a:pt x="597" y="1"/>
                </a:lnTo>
                <a:lnTo>
                  <a:pt x="593" y="3"/>
                </a:lnTo>
                <a:lnTo>
                  <a:pt x="225" y="372"/>
                </a:lnTo>
                <a:lnTo>
                  <a:pt x="126" y="274"/>
                </a:lnTo>
                <a:lnTo>
                  <a:pt x="123" y="272"/>
                </a:lnTo>
                <a:lnTo>
                  <a:pt x="119" y="271"/>
                </a:lnTo>
                <a:lnTo>
                  <a:pt x="114" y="272"/>
                </a:lnTo>
                <a:lnTo>
                  <a:pt x="110" y="274"/>
                </a:lnTo>
                <a:lnTo>
                  <a:pt x="4" y="380"/>
                </a:lnTo>
                <a:lnTo>
                  <a:pt x="2" y="385"/>
                </a:lnTo>
                <a:lnTo>
                  <a:pt x="0" y="389"/>
                </a:lnTo>
                <a:lnTo>
                  <a:pt x="2" y="394"/>
                </a:lnTo>
                <a:lnTo>
                  <a:pt x="4" y="397"/>
                </a:lnTo>
                <a:lnTo>
                  <a:pt x="216" y="608"/>
                </a:lnTo>
                <a:lnTo>
                  <a:pt x="219" y="610"/>
                </a:lnTo>
                <a:lnTo>
                  <a:pt x="225" y="611"/>
                </a:lnTo>
                <a:lnTo>
                  <a:pt x="229" y="610"/>
                </a:lnTo>
                <a:lnTo>
                  <a:pt x="232" y="608"/>
                </a:lnTo>
                <a:lnTo>
                  <a:pt x="716" y="125"/>
                </a:lnTo>
                <a:lnTo>
                  <a:pt x="718" y="122"/>
                </a:lnTo>
                <a:lnTo>
                  <a:pt x="719" y="117"/>
                </a:lnTo>
                <a:lnTo>
                  <a:pt x="718" y="112"/>
                </a:lnTo>
                <a:lnTo>
                  <a:pt x="716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Montserrat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2986816-BFE1-4A98-8F69-7B8EAB028C52}"/>
              </a:ext>
            </a:extLst>
          </p:cNvPr>
          <p:cNvSpPr txBox="1"/>
          <p:nvPr/>
        </p:nvSpPr>
        <p:spPr>
          <a:xfrm>
            <a:off x="4957502" y="2395139"/>
            <a:ext cx="228014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Montserrat" pitchFamily="2" charset="0"/>
                <a:hlinkClick r:id="rId12"/>
              </a:rPr>
              <a:t>Sample Alabama Expanded Learning Alliance </a:t>
            </a:r>
            <a:endParaRPr lang="en-US" sz="2000" dirty="0"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60340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76DBC4C-9AD8-450C-8066-EC09A801CD69}"/>
              </a:ext>
            </a:extLst>
          </p:cNvPr>
          <p:cNvSpPr/>
          <p:nvPr/>
        </p:nvSpPr>
        <p:spPr>
          <a:xfrm>
            <a:off x="333829" y="337457"/>
            <a:ext cx="11524342" cy="618308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Montserrat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42C2D4-2319-4124-B35C-620BDC9D3D9B}"/>
              </a:ext>
            </a:extLst>
          </p:cNvPr>
          <p:cNvSpPr txBox="1"/>
          <p:nvPr/>
        </p:nvSpPr>
        <p:spPr>
          <a:xfrm>
            <a:off x="0" y="401324"/>
            <a:ext cx="12192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Additional ELO Resources:</a:t>
            </a:r>
          </a:p>
          <a:p>
            <a:pPr algn="ctr"/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rPr>
              <a:t>What Else Can Assist With the ELO Process? 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863CDD2-D68A-42D2-9BCD-4CDC6C0884CA}"/>
              </a:ext>
            </a:extLst>
          </p:cNvPr>
          <p:cNvGrpSpPr/>
          <p:nvPr/>
        </p:nvGrpSpPr>
        <p:grpSpPr>
          <a:xfrm>
            <a:off x="1430887" y="1299076"/>
            <a:ext cx="9351742" cy="1039698"/>
            <a:chOff x="1420129" y="1311265"/>
            <a:chExt cx="9351742" cy="1039698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1AFA33C-45FA-4C94-99B4-0B5873DDFED1}"/>
                </a:ext>
              </a:extLst>
            </p:cNvPr>
            <p:cNvSpPr/>
            <p:nvPr/>
          </p:nvSpPr>
          <p:spPr>
            <a:xfrm>
              <a:off x="4031926" y="1466816"/>
              <a:ext cx="6739945" cy="728595"/>
            </a:xfrm>
            <a:prstGeom prst="rect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</p:txBody>
        </p:sp>
        <p:sp>
          <p:nvSpPr>
            <p:cNvPr id="9" name="Arrow: Pentagon 8">
              <a:extLst>
                <a:ext uri="{FF2B5EF4-FFF2-40B4-BE49-F238E27FC236}">
                  <a16:creationId xmlns:a16="http://schemas.microsoft.com/office/drawing/2014/main" id="{F2025C42-F6C1-45AF-B9A2-6ACD72258B4A}"/>
                </a:ext>
              </a:extLst>
            </p:cNvPr>
            <p:cNvSpPr/>
            <p:nvPr/>
          </p:nvSpPr>
          <p:spPr>
            <a:xfrm>
              <a:off x="1420129" y="1466816"/>
              <a:ext cx="1795842" cy="728595"/>
            </a:xfrm>
            <a:prstGeom prst="homePlate">
              <a:avLst/>
            </a:prstGeom>
            <a:solidFill>
              <a:srgbClr val="5FB9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Montserrat" pitchFamily="2" charset="0"/>
                </a:rPr>
                <a:t>Repository of ELO Applications</a:t>
              </a:r>
            </a:p>
          </p:txBody>
        </p:sp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371456DB-7BB8-4D4E-B933-58B15B2A6900}"/>
                </a:ext>
              </a:extLst>
            </p:cNvPr>
            <p:cNvSpPr/>
            <p:nvPr/>
          </p:nvSpPr>
          <p:spPr>
            <a:xfrm>
              <a:off x="2763221" y="1311265"/>
              <a:ext cx="1795842" cy="1039698"/>
            </a:xfrm>
            <a:prstGeom prst="chevron">
              <a:avLst/>
            </a:prstGeom>
            <a:solidFill>
              <a:srgbClr val="5FB9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BCFB346-1DA0-4ECC-9502-1D29DF9755AE}"/>
                </a:ext>
              </a:extLst>
            </p:cNvPr>
            <p:cNvSpPr/>
            <p:nvPr/>
          </p:nvSpPr>
          <p:spPr>
            <a:xfrm>
              <a:off x="4628202" y="1661835"/>
              <a:ext cx="5995985" cy="33855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Completed ELO Applications for Wide Range of Activities or Programs Currently Offered in Alabama (Refer to Example Credit-Bearing ELOs) 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2A8709D-2F73-4C76-9C32-01BD05C8E9D2}"/>
                </a:ext>
              </a:extLst>
            </p:cNvPr>
            <p:cNvGrpSpPr/>
            <p:nvPr/>
          </p:nvGrpSpPr>
          <p:grpSpPr>
            <a:xfrm>
              <a:off x="3596951" y="1631406"/>
              <a:ext cx="406547" cy="399414"/>
              <a:chOff x="903288" y="6518275"/>
              <a:chExt cx="271462" cy="266700"/>
            </a:xfrm>
            <a:solidFill>
              <a:schemeClr val="bg1"/>
            </a:solidFill>
          </p:grpSpPr>
          <p:sp>
            <p:nvSpPr>
              <p:cNvPr id="19" name="Freeform 1840">
                <a:extLst>
                  <a:ext uri="{FF2B5EF4-FFF2-40B4-BE49-F238E27FC236}">
                    <a16:creationId xmlns:a16="http://schemas.microsoft.com/office/drawing/2014/main" id="{00B9C9F6-D489-4E66-8642-9BE1DFAF47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endParaRPr>
              </a:p>
            </p:txBody>
          </p:sp>
          <p:sp>
            <p:nvSpPr>
              <p:cNvPr id="20" name="Freeform 1841">
                <a:extLst>
                  <a:ext uri="{FF2B5EF4-FFF2-40B4-BE49-F238E27FC236}">
                    <a16:creationId xmlns:a16="http://schemas.microsoft.com/office/drawing/2014/main" id="{D4BF69CF-5E74-4DE6-82AC-A09C44C9E6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endParaRPr>
              </a:p>
            </p:txBody>
          </p:sp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F145C7B-AC51-4E9B-A73F-E1226088AA95}"/>
              </a:ext>
            </a:extLst>
          </p:cNvPr>
          <p:cNvGrpSpPr/>
          <p:nvPr/>
        </p:nvGrpSpPr>
        <p:grpSpPr>
          <a:xfrm>
            <a:off x="1420128" y="2543293"/>
            <a:ext cx="9351743" cy="1039698"/>
            <a:chOff x="1420128" y="2610323"/>
            <a:chExt cx="9351743" cy="1039698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EE74BC5-CAF8-4732-A44E-6835888D9DCE}"/>
                </a:ext>
              </a:extLst>
            </p:cNvPr>
            <p:cNvSpPr/>
            <p:nvPr/>
          </p:nvSpPr>
          <p:spPr>
            <a:xfrm>
              <a:off x="4031926" y="2765876"/>
              <a:ext cx="6739945" cy="728595"/>
            </a:xfrm>
            <a:prstGeom prst="rect">
              <a:avLst/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sp>
          <p:nvSpPr>
            <p:cNvPr id="24" name="Arrow: Pentagon 23">
              <a:extLst>
                <a:ext uri="{FF2B5EF4-FFF2-40B4-BE49-F238E27FC236}">
                  <a16:creationId xmlns:a16="http://schemas.microsoft.com/office/drawing/2014/main" id="{53BBB2D0-7E77-4877-A9E3-86C932E71CE4}"/>
                </a:ext>
              </a:extLst>
            </p:cNvPr>
            <p:cNvSpPr/>
            <p:nvPr/>
          </p:nvSpPr>
          <p:spPr>
            <a:xfrm>
              <a:off x="1420128" y="2765876"/>
              <a:ext cx="1907183" cy="728595"/>
            </a:xfrm>
            <a:prstGeom prst="homePlate">
              <a:avLst/>
            </a:prstGeom>
            <a:solidFill>
              <a:srgbClr val="FF45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Montserrat" pitchFamily="2" charset="0"/>
                </a:rPr>
                <a:t>Professional Development Opportunities </a:t>
              </a: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0FF005A8-2DF6-4C83-8550-1269143213A8}"/>
                </a:ext>
              </a:extLst>
            </p:cNvPr>
            <p:cNvSpPr/>
            <p:nvPr/>
          </p:nvSpPr>
          <p:spPr>
            <a:xfrm>
              <a:off x="2877340" y="2610323"/>
              <a:ext cx="1795842" cy="1039698"/>
            </a:xfrm>
            <a:prstGeom prst="chevron">
              <a:avLst/>
            </a:prstGeom>
            <a:solidFill>
              <a:srgbClr val="FF45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Montserrat" pitchFamily="2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B3DAD95-A0F0-474D-97B8-9BA7B9CE70E0}"/>
                </a:ext>
              </a:extLst>
            </p:cNvPr>
            <p:cNvSpPr/>
            <p:nvPr/>
          </p:nvSpPr>
          <p:spPr>
            <a:xfrm>
              <a:off x="4521870" y="2791618"/>
              <a:ext cx="6250001" cy="677108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Virtual Sessions To Go Step-by-Step Through ELO Process </a:t>
              </a:r>
            </a:p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One-on-One Sessions to Meet Individual Needs</a:t>
              </a:r>
            </a:p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Office Hours  </a:t>
              </a:r>
            </a:p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Face-to-Face Opportunities with Other Educator Organizations 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223F8D04-84F6-48F8-AD67-10ED22CDEE76}"/>
                </a:ext>
              </a:extLst>
            </p:cNvPr>
            <p:cNvGrpSpPr/>
            <p:nvPr/>
          </p:nvGrpSpPr>
          <p:grpSpPr>
            <a:xfrm>
              <a:off x="3596951" y="2930466"/>
              <a:ext cx="406547" cy="399414"/>
              <a:chOff x="903288" y="6518275"/>
              <a:chExt cx="271462" cy="266700"/>
            </a:xfrm>
            <a:solidFill>
              <a:schemeClr val="bg1"/>
            </a:solidFill>
          </p:grpSpPr>
          <p:sp>
            <p:nvSpPr>
              <p:cNvPr id="28" name="Freeform 1840">
                <a:extLst>
                  <a:ext uri="{FF2B5EF4-FFF2-40B4-BE49-F238E27FC236}">
                    <a16:creationId xmlns:a16="http://schemas.microsoft.com/office/drawing/2014/main" id="{45FF0784-8203-4576-8C41-79F5B8A7E8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Montserrat" pitchFamily="2" charset="0"/>
                </a:endParaRPr>
              </a:p>
            </p:txBody>
          </p:sp>
          <p:sp>
            <p:nvSpPr>
              <p:cNvPr id="29" name="Freeform 1841">
                <a:extLst>
                  <a:ext uri="{FF2B5EF4-FFF2-40B4-BE49-F238E27FC236}">
                    <a16:creationId xmlns:a16="http://schemas.microsoft.com/office/drawing/2014/main" id="{C1752015-0A0A-463C-9A3B-16AE08A65E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Montserrat" pitchFamily="2" charset="0"/>
                </a:endParaRPr>
              </a:p>
            </p:txBody>
          </p:sp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FA4FDF50-D0EC-48F9-9F89-0B6F776C255F}"/>
              </a:ext>
            </a:extLst>
          </p:cNvPr>
          <p:cNvGrpSpPr/>
          <p:nvPr/>
        </p:nvGrpSpPr>
        <p:grpSpPr>
          <a:xfrm>
            <a:off x="1420129" y="3775325"/>
            <a:ext cx="9351742" cy="1039698"/>
            <a:chOff x="1420129" y="3909385"/>
            <a:chExt cx="9351742" cy="103969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8A1CE1D-590D-4B28-8FC8-9551D7BA3E1E}"/>
                </a:ext>
              </a:extLst>
            </p:cNvPr>
            <p:cNvSpPr/>
            <p:nvPr/>
          </p:nvSpPr>
          <p:spPr>
            <a:xfrm>
              <a:off x="4031926" y="4064936"/>
              <a:ext cx="6739945" cy="7285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sp>
          <p:nvSpPr>
            <p:cNvPr id="32" name="Arrow: Pentagon 31">
              <a:extLst>
                <a:ext uri="{FF2B5EF4-FFF2-40B4-BE49-F238E27FC236}">
                  <a16:creationId xmlns:a16="http://schemas.microsoft.com/office/drawing/2014/main" id="{BC02E3FF-5BE4-4E1E-8B53-E28DF1B28616}"/>
                </a:ext>
              </a:extLst>
            </p:cNvPr>
            <p:cNvSpPr/>
            <p:nvPr/>
          </p:nvSpPr>
          <p:spPr>
            <a:xfrm>
              <a:off x="1420129" y="4064936"/>
              <a:ext cx="1795842" cy="728595"/>
            </a:xfrm>
            <a:prstGeom prst="homePlate">
              <a:avLst/>
            </a:prstGeom>
            <a:solidFill>
              <a:srgbClr val="0941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Montserrat" pitchFamily="2" charset="0"/>
                </a:rPr>
                <a:t>Partnering Opportunities With Districts</a:t>
              </a:r>
            </a:p>
          </p:txBody>
        </p:sp>
        <p:sp>
          <p:nvSpPr>
            <p:cNvPr id="33" name="Arrow: Chevron 32">
              <a:extLst>
                <a:ext uri="{FF2B5EF4-FFF2-40B4-BE49-F238E27FC236}">
                  <a16:creationId xmlns:a16="http://schemas.microsoft.com/office/drawing/2014/main" id="{8E8E53B5-B0C2-46D2-805D-F63F31F699F9}"/>
                </a:ext>
              </a:extLst>
            </p:cNvPr>
            <p:cNvSpPr/>
            <p:nvPr/>
          </p:nvSpPr>
          <p:spPr>
            <a:xfrm>
              <a:off x="2726028" y="3909385"/>
              <a:ext cx="1795842" cy="1039698"/>
            </a:xfrm>
            <a:prstGeom prst="chevron">
              <a:avLst/>
            </a:prstGeom>
            <a:solidFill>
              <a:srgbClr val="0941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Montserrat" pitchFamily="2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D27AAB3-EE5C-482B-A745-6224AC86708C}"/>
                </a:ext>
              </a:extLst>
            </p:cNvPr>
            <p:cNvSpPr/>
            <p:nvPr/>
          </p:nvSpPr>
          <p:spPr>
            <a:xfrm>
              <a:off x="4628202" y="4175316"/>
              <a:ext cx="5995985" cy="5078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Short Online Request to Review LEA Clubs, Organizations, Etc. </a:t>
              </a:r>
            </a:p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Technical Assistance for District or School Staff (Overview or Implementation) </a:t>
              </a:r>
            </a:p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Action Research Opportunities 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11EBA43-D251-466A-83A9-06AF0B23BF9A}"/>
                </a:ext>
              </a:extLst>
            </p:cNvPr>
            <p:cNvGrpSpPr/>
            <p:nvPr/>
          </p:nvGrpSpPr>
          <p:grpSpPr>
            <a:xfrm>
              <a:off x="3596951" y="4229526"/>
              <a:ext cx="406547" cy="399414"/>
              <a:chOff x="903288" y="6518275"/>
              <a:chExt cx="271462" cy="266700"/>
            </a:xfrm>
            <a:solidFill>
              <a:schemeClr val="bg1"/>
            </a:solidFill>
          </p:grpSpPr>
          <p:sp>
            <p:nvSpPr>
              <p:cNvPr id="36" name="Freeform 1840">
                <a:extLst>
                  <a:ext uri="{FF2B5EF4-FFF2-40B4-BE49-F238E27FC236}">
                    <a16:creationId xmlns:a16="http://schemas.microsoft.com/office/drawing/2014/main" id="{2F37B97C-F0E5-4F1C-B0BB-052F621E67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Montserrat" pitchFamily="2" charset="0"/>
                </a:endParaRPr>
              </a:p>
            </p:txBody>
          </p:sp>
          <p:sp>
            <p:nvSpPr>
              <p:cNvPr id="37" name="Freeform 1841">
                <a:extLst>
                  <a:ext uri="{FF2B5EF4-FFF2-40B4-BE49-F238E27FC236}">
                    <a16:creationId xmlns:a16="http://schemas.microsoft.com/office/drawing/2014/main" id="{72E67992-BBCA-4413-B8AB-A440C8AE7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Montserrat" pitchFamily="2" charset="0"/>
                </a:endParaRPr>
              </a:p>
            </p:txBody>
          </p:sp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64BA024C-0FD5-4700-9FD0-2F2E9E691BAD}"/>
              </a:ext>
            </a:extLst>
          </p:cNvPr>
          <p:cNvGrpSpPr/>
          <p:nvPr/>
        </p:nvGrpSpPr>
        <p:grpSpPr>
          <a:xfrm>
            <a:off x="1420129" y="5007356"/>
            <a:ext cx="9351742" cy="1039698"/>
            <a:chOff x="1420129" y="5208446"/>
            <a:chExt cx="9351742" cy="1039698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EDC904D-2302-4121-AB36-ED67BE7422AE}"/>
                </a:ext>
              </a:extLst>
            </p:cNvPr>
            <p:cNvSpPr/>
            <p:nvPr/>
          </p:nvSpPr>
          <p:spPr>
            <a:xfrm>
              <a:off x="4031926" y="5363997"/>
              <a:ext cx="6739945" cy="728595"/>
            </a:xfrm>
            <a:prstGeom prst="rect">
              <a:avLst/>
            </a:prstGeom>
            <a:solidFill>
              <a:schemeClr val="bg1">
                <a:lumMod val="9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Montserrat" pitchFamily="2" charset="0"/>
              </a:endParaRPr>
            </a:p>
          </p:txBody>
        </p:sp>
        <p:sp>
          <p:nvSpPr>
            <p:cNvPr id="40" name="Arrow: Pentagon 39">
              <a:extLst>
                <a:ext uri="{FF2B5EF4-FFF2-40B4-BE49-F238E27FC236}">
                  <a16:creationId xmlns:a16="http://schemas.microsoft.com/office/drawing/2014/main" id="{DED3D2AC-7846-436B-804A-E50D8C983300}"/>
                </a:ext>
              </a:extLst>
            </p:cNvPr>
            <p:cNvSpPr/>
            <p:nvPr/>
          </p:nvSpPr>
          <p:spPr>
            <a:xfrm>
              <a:off x="1420129" y="5363997"/>
              <a:ext cx="1795842" cy="728595"/>
            </a:xfrm>
            <a:prstGeom prst="homePlat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Montserrat" pitchFamily="2" charset="0"/>
                </a:rPr>
                <a:t>Repository of Additional Resources </a:t>
              </a:r>
            </a:p>
          </p:txBody>
        </p:sp>
        <p:sp>
          <p:nvSpPr>
            <p:cNvPr id="41" name="Arrow: Chevron 40">
              <a:extLst>
                <a:ext uri="{FF2B5EF4-FFF2-40B4-BE49-F238E27FC236}">
                  <a16:creationId xmlns:a16="http://schemas.microsoft.com/office/drawing/2014/main" id="{3D98B904-C476-4C8C-B316-C8E07196AD6D}"/>
                </a:ext>
              </a:extLst>
            </p:cNvPr>
            <p:cNvSpPr/>
            <p:nvPr/>
          </p:nvSpPr>
          <p:spPr>
            <a:xfrm>
              <a:off x="2726028" y="5208446"/>
              <a:ext cx="1795842" cy="1039698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Montserrat" pitchFamily="2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0261A00-CAB9-44E4-B601-B542B8FEAE07}"/>
                </a:ext>
              </a:extLst>
            </p:cNvPr>
            <p:cNvSpPr/>
            <p:nvPr/>
          </p:nvSpPr>
          <p:spPr>
            <a:xfrm>
              <a:off x="4628202" y="5474377"/>
              <a:ext cx="5995985" cy="5078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Sample Forms </a:t>
              </a:r>
            </a:p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Case Study White Paper </a:t>
              </a:r>
            </a:p>
            <a:p>
              <a:pPr algn="ctr"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ontserrat" pitchFamily="2" charset="0"/>
                </a:rPr>
                <a:t>Other State and National ELO Resources </a:t>
              </a: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D57015CC-8BC8-4AD6-964B-3B8F70239312}"/>
                </a:ext>
              </a:extLst>
            </p:cNvPr>
            <p:cNvGrpSpPr/>
            <p:nvPr/>
          </p:nvGrpSpPr>
          <p:grpSpPr>
            <a:xfrm>
              <a:off x="3596951" y="5528587"/>
              <a:ext cx="406547" cy="399414"/>
              <a:chOff x="903288" y="6518275"/>
              <a:chExt cx="271462" cy="266700"/>
            </a:xfrm>
            <a:solidFill>
              <a:schemeClr val="bg1"/>
            </a:solidFill>
          </p:grpSpPr>
          <p:sp>
            <p:nvSpPr>
              <p:cNvPr id="44" name="Freeform 1840">
                <a:extLst>
                  <a:ext uri="{FF2B5EF4-FFF2-40B4-BE49-F238E27FC236}">
                    <a16:creationId xmlns:a16="http://schemas.microsoft.com/office/drawing/2014/main" id="{86BCCD7D-785B-4CCC-BB69-5AE4EE4D6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Montserrat" pitchFamily="2" charset="0"/>
                </a:endParaRPr>
              </a:p>
            </p:txBody>
          </p:sp>
          <p:sp>
            <p:nvSpPr>
              <p:cNvPr id="45" name="Freeform 1841">
                <a:extLst>
                  <a:ext uri="{FF2B5EF4-FFF2-40B4-BE49-F238E27FC236}">
                    <a16:creationId xmlns:a16="http://schemas.microsoft.com/office/drawing/2014/main" id="{2E87F11D-D5DD-478E-A327-2702C04B5F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Montserrat" pitchFamily="2" charset="0"/>
                </a:endParaRPr>
              </a:p>
            </p:txBody>
          </p: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BC6B285-1192-4505-B6D6-321939A1E06F}"/>
              </a:ext>
            </a:extLst>
          </p:cNvPr>
          <p:cNvGrpSpPr/>
          <p:nvPr/>
        </p:nvGrpSpPr>
        <p:grpSpPr>
          <a:xfrm>
            <a:off x="0" y="6388725"/>
            <a:ext cx="12192001" cy="469276"/>
            <a:chOff x="0" y="6388725"/>
            <a:chExt cx="12192001" cy="469276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1AC9EDE-E11E-41D3-AFCF-1AE2BF3C9C7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722725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0EF917ED-95A1-43A0-9815-B1227C63A8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0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6FE4FC1-FD12-46FA-BAF4-DF91EC3DCDD8}"/>
              </a:ext>
            </a:extLst>
          </p:cNvPr>
          <p:cNvGrpSpPr/>
          <p:nvPr/>
        </p:nvGrpSpPr>
        <p:grpSpPr>
          <a:xfrm flipV="1">
            <a:off x="0" y="0"/>
            <a:ext cx="12192001" cy="469276"/>
            <a:chOff x="0" y="6388725"/>
            <a:chExt cx="12192001" cy="469276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E85DA5D-AAFD-4D08-8AA5-89FA1307FAA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722725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215F2721-A60F-435C-9521-FC9C523343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0" y="6388725"/>
              <a:ext cx="469276" cy="46927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Slide Number Placeholder 63">
            <a:extLst>
              <a:ext uri="{FF2B5EF4-FFF2-40B4-BE49-F238E27FC236}">
                <a16:creationId xmlns:a16="http://schemas.microsoft.com/office/drawing/2014/main" id="{25886065-57E9-4A13-980D-FB51F031B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875"/>
            <a:ext cx="2743200" cy="365125"/>
          </a:xfrm>
        </p:spPr>
        <p:txBody>
          <a:bodyPr/>
          <a:lstStyle/>
          <a:p>
            <a:fld id="{358A3C94-99AD-4370-9394-C6F447157082}" type="slidenum">
              <a:rPr lang="en-US" smtClean="0">
                <a:latin typeface="Montserrat" pitchFamily="2" charset="0"/>
              </a:rPr>
              <a:t>8</a:t>
            </a:fld>
            <a:endParaRPr lang="en-US" dirty="0">
              <a:latin typeface="Montserra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62825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F5F6D"/>
      </a:accent1>
      <a:accent2>
        <a:srgbClr val="EB6B56"/>
      </a:accent2>
      <a:accent3>
        <a:srgbClr val="FFC153"/>
      </a:accent3>
      <a:accent4>
        <a:srgbClr val="47B39D"/>
      </a:accent4>
      <a:accent5>
        <a:srgbClr val="954F72"/>
      </a:accent5>
      <a:accent6>
        <a:srgbClr val="5B9BD5"/>
      </a:accent6>
      <a:hlink>
        <a:srgbClr val="0563C1"/>
      </a:hlink>
      <a:folHlink>
        <a:srgbClr val="954F72"/>
      </a:folHlink>
    </a:clrScheme>
    <a:fontScheme name="Tw Cen MT-Rockwell">
      <a:maj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15</TotalTime>
  <Words>1000</Words>
  <Application>Microsoft Office PowerPoint</Application>
  <PresentationFormat>Widescreen</PresentationFormat>
  <Paragraphs>122</Paragraphs>
  <Slides>8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Montserrat</vt:lpstr>
      <vt:lpstr>Rockwell</vt:lpstr>
      <vt:lpstr>Tw Cen MT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isnawanugroho</dc:creator>
  <cp:lastModifiedBy>Annie Cornett</cp:lastModifiedBy>
  <cp:revision>77</cp:revision>
  <cp:lastPrinted>2023-03-15T15:02:32Z</cp:lastPrinted>
  <dcterms:created xsi:type="dcterms:W3CDTF">2019-01-25T06:46:07Z</dcterms:created>
  <dcterms:modified xsi:type="dcterms:W3CDTF">2023-03-31T14:10:52Z</dcterms:modified>
</cp:coreProperties>
</file>